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  <p:sldMasterId id="2147483828" r:id="rId4"/>
  </p:sldMasterIdLst>
  <p:notesMasterIdLst>
    <p:notesMasterId r:id="rId40"/>
  </p:notesMasterIdLst>
  <p:sldIdLst>
    <p:sldId id="1624" r:id="rId5"/>
    <p:sldId id="2416" r:id="rId6"/>
    <p:sldId id="2417" r:id="rId7"/>
    <p:sldId id="4641" r:id="rId8"/>
    <p:sldId id="4617" r:id="rId9"/>
    <p:sldId id="4642" r:id="rId10"/>
    <p:sldId id="2423" r:id="rId11"/>
    <p:sldId id="1364" r:id="rId12"/>
    <p:sldId id="1366" r:id="rId13"/>
    <p:sldId id="1367" r:id="rId14"/>
    <p:sldId id="1369" r:id="rId15"/>
    <p:sldId id="1370" r:id="rId16"/>
    <p:sldId id="1372" r:id="rId17"/>
    <p:sldId id="1373" r:id="rId18"/>
    <p:sldId id="1375" r:id="rId19"/>
    <p:sldId id="1376" r:id="rId20"/>
    <p:sldId id="1378" r:id="rId21"/>
    <p:sldId id="1379" r:id="rId22"/>
    <p:sldId id="1381" r:id="rId23"/>
    <p:sldId id="1382" r:id="rId24"/>
    <p:sldId id="1384" r:id="rId25"/>
    <p:sldId id="1385" r:id="rId26"/>
    <p:sldId id="1387" r:id="rId27"/>
    <p:sldId id="1388" r:id="rId28"/>
    <p:sldId id="1390" r:id="rId29"/>
    <p:sldId id="1391" r:id="rId30"/>
    <p:sldId id="1393" r:id="rId31"/>
    <p:sldId id="1394" r:id="rId32"/>
    <p:sldId id="1396" r:id="rId33"/>
    <p:sldId id="4544" r:id="rId34"/>
    <p:sldId id="4545" r:id="rId35"/>
    <p:sldId id="1400" r:id="rId36"/>
    <p:sldId id="1402" r:id="rId37"/>
    <p:sldId id="1403" r:id="rId38"/>
    <p:sldId id="1405" r:id="rId39"/>
  </p:sldIdLst>
  <p:sldSz cx="12192000" cy="6858000"/>
  <p:notesSz cx="6858000" cy="9144000"/>
  <p:custDataLst>
    <p:tags r:id="rId4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00FF00"/>
    <a:srgbClr val="FF9900"/>
    <a:srgbClr val="3333CC"/>
    <a:srgbClr val="D31145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14" autoAdjust="0"/>
    <p:restoredTop sz="95297" autoAdjust="0"/>
  </p:normalViewPr>
  <p:slideViewPr>
    <p:cSldViewPr snapToGrid="0">
      <p:cViewPr varScale="1">
        <p:scale>
          <a:sx n="104" d="100"/>
          <a:sy n="104" d="100"/>
        </p:scale>
        <p:origin x="270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172</c:v>
                </c:pt>
                <c:pt idx="1">
                  <c:v>510</c:v>
                </c:pt>
                <c:pt idx="2">
                  <c:v>2221</c:v>
                </c:pt>
                <c:pt idx="3">
                  <c:v>2418</c:v>
                </c:pt>
                <c:pt idx="4">
                  <c:v>1873</c:v>
                </c:pt>
                <c:pt idx="5">
                  <c:v>1577</c:v>
                </c:pt>
                <c:pt idx="6">
                  <c:v>1638</c:v>
                </c:pt>
                <c:pt idx="7">
                  <c:v>729</c:v>
                </c:pt>
                <c:pt idx="8">
                  <c:v>385</c:v>
                </c:pt>
                <c:pt idx="9">
                  <c:v>1545</c:v>
                </c:pt>
                <c:pt idx="10">
                  <c:v>1691</c:v>
                </c:pt>
                <c:pt idx="11">
                  <c:v>1265</c:v>
                </c:pt>
                <c:pt idx="12">
                  <c:v>1224</c:v>
                </c:pt>
                <c:pt idx="13">
                  <c:v>1053</c:v>
                </c:pt>
                <c:pt idx="14">
                  <c:v>597</c:v>
                </c:pt>
                <c:pt idx="15">
                  <c:v>257</c:v>
                </c:pt>
                <c:pt idx="16">
                  <c:v>1134</c:v>
                </c:pt>
                <c:pt idx="17">
                  <c:v>1201</c:v>
                </c:pt>
                <c:pt idx="18">
                  <c:v>780</c:v>
                </c:pt>
                <c:pt idx="19">
                  <c:v>678</c:v>
                </c:pt>
                <c:pt idx="20">
                  <c:v>673</c:v>
                </c:pt>
                <c:pt idx="21">
                  <c:v>336</c:v>
                </c:pt>
                <c:pt idx="22">
                  <c:v>198</c:v>
                </c:pt>
                <c:pt idx="23">
                  <c:v>697</c:v>
                </c:pt>
                <c:pt idx="24">
                  <c:v>661</c:v>
                </c:pt>
                <c:pt idx="25">
                  <c:v>540</c:v>
                </c:pt>
                <c:pt idx="26">
                  <c:v>507</c:v>
                </c:pt>
                <c:pt idx="27">
                  <c:v>455</c:v>
                </c:pt>
                <c:pt idx="28">
                  <c:v>222</c:v>
                </c:pt>
                <c:pt idx="29">
                  <c:v>113</c:v>
                </c:pt>
                <c:pt idx="30">
                  <c:v>515</c:v>
                </c:pt>
                <c:pt idx="31">
                  <c:v>480</c:v>
                </c:pt>
                <c:pt idx="32">
                  <c:v>353</c:v>
                </c:pt>
                <c:pt idx="33">
                  <c:v>428</c:v>
                </c:pt>
                <c:pt idx="34">
                  <c:v>323</c:v>
                </c:pt>
                <c:pt idx="35">
                  <c:v>153</c:v>
                </c:pt>
                <c:pt idx="36">
                  <c:v>98</c:v>
                </c:pt>
                <c:pt idx="37">
                  <c:v>297</c:v>
                </c:pt>
                <c:pt idx="38">
                  <c:v>385</c:v>
                </c:pt>
                <c:pt idx="39">
                  <c:v>251</c:v>
                </c:pt>
                <c:pt idx="40">
                  <c:v>190</c:v>
                </c:pt>
                <c:pt idx="41">
                  <c:v>180</c:v>
                </c:pt>
                <c:pt idx="42">
                  <c:v>73</c:v>
                </c:pt>
                <c:pt idx="43">
                  <c:v>41</c:v>
                </c:pt>
                <c:pt idx="44">
                  <c:v>175</c:v>
                </c:pt>
                <c:pt idx="45">
                  <c:v>209</c:v>
                </c:pt>
                <c:pt idx="46">
                  <c:v>129</c:v>
                </c:pt>
                <c:pt idx="47">
                  <c:v>158</c:v>
                </c:pt>
                <c:pt idx="48">
                  <c:v>144</c:v>
                </c:pt>
                <c:pt idx="49">
                  <c:v>63</c:v>
                </c:pt>
                <c:pt idx="50">
                  <c:v>57</c:v>
                </c:pt>
                <c:pt idx="51">
                  <c:v>119</c:v>
                </c:pt>
                <c:pt idx="52">
                  <c:v>112</c:v>
                </c:pt>
                <c:pt idx="53">
                  <c:v>106</c:v>
                </c:pt>
                <c:pt idx="54">
                  <c:v>97</c:v>
                </c:pt>
                <c:pt idx="55">
                  <c:v>132</c:v>
                </c:pt>
                <c:pt idx="56">
                  <c:v>68</c:v>
                </c:pt>
                <c:pt idx="57">
                  <c:v>58</c:v>
                </c:pt>
                <c:pt idx="58">
                  <c:v>152</c:v>
                </c:pt>
                <c:pt idx="59">
                  <c:v>156</c:v>
                </c:pt>
                <c:pt idx="60">
                  <c:v>137</c:v>
                </c:pt>
                <c:pt idx="61">
                  <c:v>167</c:v>
                </c:pt>
                <c:pt idx="62">
                  <c:v>164</c:v>
                </c:pt>
                <c:pt idx="63">
                  <c:v>126</c:v>
                </c:pt>
                <c:pt idx="64">
                  <c:v>108</c:v>
                </c:pt>
                <c:pt idx="65">
                  <c:v>130</c:v>
                </c:pt>
                <c:pt idx="66">
                  <c:v>110</c:v>
                </c:pt>
                <c:pt idx="67">
                  <c:v>280</c:v>
                </c:pt>
                <c:pt idx="68">
                  <c:v>249</c:v>
                </c:pt>
                <c:pt idx="69">
                  <c:v>285</c:v>
                </c:pt>
                <c:pt idx="70">
                  <c:v>157</c:v>
                </c:pt>
                <c:pt idx="71">
                  <c:v>148</c:v>
                </c:pt>
                <c:pt idx="72">
                  <c:v>245</c:v>
                </c:pt>
                <c:pt idx="73">
                  <c:v>322</c:v>
                </c:pt>
                <c:pt idx="74">
                  <c:v>262</c:v>
                </c:pt>
                <c:pt idx="75">
                  <c:v>226</c:v>
                </c:pt>
                <c:pt idx="76">
                  <c:v>242</c:v>
                </c:pt>
                <c:pt idx="77">
                  <c:v>197</c:v>
                </c:pt>
                <c:pt idx="78">
                  <c:v>116</c:v>
                </c:pt>
                <c:pt idx="79">
                  <c:v>219</c:v>
                </c:pt>
                <c:pt idx="80">
                  <c:v>300</c:v>
                </c:pt>
                <c:pt idx="81">
                  <c:v>232</c:v>
                </c:pt>
                <c:pt idx="82">
                  <c:v>197</c:v>
                </c:pt>
                <c:pt idx="83">
                  <c:v>189</c:v>
                </c:pt>
                <c:pt idx="84">
                  <c:v>125</c:v>
                </c:pt>
                <c:pt idx="85">
                  <c:v>81</c:v>
                </c:pt>
                <c:pt idx="86">
                  <c:v>198</c:v>
                </c:pt>
                <c:pt idx="87">
                  <c:v>254</c:v>
                </c:pt>
                <c:pt idx="88">
                  <c:v>192</c:v>
                </c:pt>
                <c:pt idx="89">
                  <c:v>205</c:v>
                </c:pt>
                <c:pt idx="90">
                  <c:v>138</c:v>
                </c:pt>
                <c:pt idx="91">
                  <c:v>115</c:v>
                </c:pt>
                <c:pt idx="92">
                  <c:v>77</c:v>
                </c:pt>
                <c:pt idx="93">
                  <c:v>152</c:v>
                </c:pt>
                <c:pt idx="94">
                  <c:v>238</c:v>
                </c:pt>
                <c:pt idx="95">
                  <c:v>208</c:v>
                </c:pt>
                <c:pt idx="96">
                  <c:v>164</c:v>
                </c:pt>
                <c:pt idx="97">
                  <c:v>174</c:v>
                </c:pt>
                <c:pt idx="98">
                  <c:v>154</c:v>
                </c:pt>
                <c:pt idx="99">
                  <c:v>106</c:v>
                </c:pt>
                <c:pt idx="100">
                  <c:v>170</c:v>
                </c:pt>
                <c:pt idx="101">
                  <c:v>260</c:v>
                </c:pt>
                <c:pt idx="102">
                  <c:v>219</c:v>
                </c:pt>
                <c:pt idx="103">
                  <c:v>190</c:v>
                </c:pt>
                <c:pt idx="104">
                  <c:v>219</c:v>
                </c:pt>
                <c:pt idx="105">
                  <c:v>142</c:v>
                </c:pt>
                <c:pt idx="106">
                  <c:v>77</c:v>
                </c:pt>
                <c:pt idx="107">
                  <c:v>215</c:v>
                </c:pt>
                <c:pt idx="108">
                  <c:v>300</c:v>
                </c:pt>
                <c:pt idx="109">
                  <c:v>208</c:v>
                </c:pt>
                <c:pt idx="110">
                  <c:v>165</c:v>
                </c:pt>
                <c:pt idx="111">
                  <c:v>170</c:v>
                </c:pt>
                <c:pt idx="112">
                  <c:v>134</c:v>
                </c:pt>
                <c:pt idx="113">
                  <c:v>107</c:v>
                </c:pt>
                <c:pt idx="114">
                  <c:v>211</c:v>
                </c:pt>
                <c:pt idx="115">
                  <c:v>248</c:v>
                </c:pt>
                <c:pt idx="116">
                  <c:v>247</c:v>
                </c:pt>
                <c:pt idx="117">
                  <c:v>211</c:v>
                </c:pt>
                <c:pt idx="118">
                  <c:v>182</c:v>
                </c:pt>
                <c:pt idx="119">
                  <c:v>133</c:v>
                </c:pt>
                <c:pt idx="120">
                  <c:v>81</c:v>
                </c:pt>
                <c:pt idx="121">
                  <c:v>241</c:v>
                </c:pt>
                <c:pt idx="122">
                  <c:v>292</c:v>
                </c:pt>
                <c:pt idx="123">
                  <c:v>262</c:v>
                </c:pt>
                <c:pt idx="124">
                  <c:v>305</c:v>
                </c:pt>
                <c:pt idx="125">
                  <c:v>307</c:v>
                </c:pt>
                <c:pt idx="126">
                  <c:v>206</c:v>
                </c:pt>
                <c:pt idx="127">
                  <c:v>140</c:v>
                </c:pt>
                <c:pt idx="128">
                  <c:v>392</c:v>
                </c:pt>
                <c:pt idx="129">
                  <c:v>583</c:v>
                </c:pt>
                <c:pt idx="130">
                  <c:v>381</c:v>
                </c:pt>
                <c:pt idx="131">
                  <c:v>418</c:v>
                </c:pt>
                <c:pt idx="132">
                  <c:v>444</c:v>
                </c:pt>
                <c:pt idx="133">
                  <c:v>250</c:v>
                </c:pt>
                <c:pt idx="134">
                  <c:v>136</c:v>
                </c:pt>
                <c:pt idx="135">
                  <c:v>492</c:v>
                </c:pt>
                <c:pt idx="136">
                  <c:v>555</c:v>
                </c:pt>
                <c:pt idx="137">
                  <c:v>523</c:v>
                </c:pt>
                <c:pt idx="138">
                  <c:v>555</c:v>
                </c:pt>
                <c:pt idx="139">
                  <c:v>442</c:v>
                </c:pt>
                <c:pt idx="140">
                  <c:v>301</c:v>
                </c:pt>
                <c:pt idx="141">
                  <c:v>187</c:v>
                </c:pt>
                <c:pt idx="142">
                  <c:v>481</c:v>
                </c:pt>
                <c:pt idx="143">
                  <c:v>596</c:v>
                </c:pt>
                <c:pt idx="144">
                  <c:v>523</c:v>
                </c:pt>
                <c:pt idx="145">
                  <c:v>483</c:v>
                </c:pt>
                <c:pt idx="146">
                  <c:v>506</c:v>
                </c:pt>
                <c:pt idx="147">
                  <c:v>414</c:v>
                </c:pt>
                <c:pt idx="148">
                  <c:v>249</c:v>
                </c:pt>
                <c:pt idx="149">
                  <c:v>671</c:v>
                </c:pt>
                <c:pt idx="150">
                  <c:v>473</c:v>
                </c:pt>
                <c:pt idx="151">
                  <c:v>732</c:v>
                </c:pt>
                <c:pt idx="152">
                  <c:v>920</c:v>
                </c:pt>
                <c:pt idx="153">
                  <c:v>827</c:v>
                </c:pt>
                <c:pt idx="154">
                  <c:v>552</c:v>
                </c:pt>
                <c:pt idx="155">
                  <c:v>318</c:v>
                </c:pt>
                <c:pt idx="156">
                  <c:v>802</c:v>
                </c:pt>
                <c:pt idx="157">
                  <c:v>1110</c:v>
                </c:pt>
                <c:pt idx="158">
                  <c:v>1048</c:v>
                </c:pt>
                <c:pt idx="159">
                  <c:v>989</c:v>
                </c:pt>
                <c:pt idx="160">
                  <c:v>1017</c:v>
                </c:pt>
                <c:pt idx="161">
                  <c:v>666</c:v>
                </c:pt>
                <c:pt idx="162">
                  <c:v>336</c:v>
                </c:pt>
                <c:pt idx="163">
                  <c:v>1343</c:v>
                </c:pt>
                <c:pt idx="164">
                  <c:v>1507</c:v>
                </c:pt>
                <c:pt idx="165">
                  <c:v>1499</c:v>
                </c:pt>
                <c:pt idx="166">
                  <c:v>1540</c:v>
                </c:pt>
                <c:pt idx="167">
                  <c:v>1783</c:v>
                </c:pt>
                <c:pt idx="168">
                  <c:v>1158</c:v>
                </c:pt>
                <c:pt idx="169">
                  <c:v>795</c:v>
                </c:pt>
                <c:pt idx="170">
                  <c:v>2529</c:v>
                </c:pt>
                <c:pt idx="171">
                  <c:v>3249</c:v>
                </c:pt>
                <c:pt idx="172">
                  <c:v>3278</c:v>
                </c:pt>
                <c:pt idx="173">
                  <c:v>3643</c:v>
                </c:pt>
                <c:pt idx="174">
                  <c:v>4236</c:v>
                </c:pt>
                <c:pt idx="175">
                  <c:v>2756</c:v>
                </c:pt>
                <c:pt idx="176">
                  <c:v>1837</c:v>
                </c:pt>
                <c:pt idx="177">
                  <c:v>4282</c:v>
                </c:pt>
                <c:pt idx="178">
                  <c:v>6287</c:v>
                </c:pt>
                <c:pt idx="179">
                  <c:v>5845</c:v>
                </c:pt>
                <c:pt idx="180">
                  <c:v>4353</c:v>
                </c:pt>
                <c:pt idx="181">
                  <c:v>5746</c:v>
                </c:pt>
                <c:pt idx="182">
                  <c:v>5057</c:v>
                </c:pt>
                <c:pt idx="183">
                  <c:v>2772</c:v>
                </c:pt>
                <c:pt idx="184">
                  <c:v>7597</c:v>
                </c:pt>
                <c:pt idx="185">
                  <c:v>9909</c:v>
                </c:pt>
                <c:pt idx="186">
                  <c:v>9466</c:v>
                </c:pt>
                <c:pt idx="187">
                  <c:v>8439</c:v>
                </c:pt>
                <c:pt idx="188">
                  <c:v>9240</c:v>
                </c:pt>
                <c:pt idx="189">
                  <c:v>5738</c:v>
                </c:pt>
                <c:pt idx="190">
                  <c:v>3006</c:v>
                </c:pt>
                <c:pt idx="191">
                  <c:v>9263</c:v>
                </c:pt>
                <c:pt idx="192">
                  <c:v>14558</c:v>
                </c:pt>
                <c:pt idx="193">
                  <c:v>13514</c:v>
                </c:pt>
                <c:pt idx="194">
                  <c:v>10414</c:v>
                </c:pt>
                <c:pt idx="195">
                  <c:v>14230</c:v>
                </c:pt>
                <c:pt idx="196">
                  <c:v>9170</c:v>
                </c:pt>
                <c:pt idx="197">
                  <c:v>5662</c:v>
                </c:pt>
                <c:pt idx="198">
                  <c:v>11553</c:v>
                </c:pt>
                <c:pt idx="199">
                  <c:v>22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195" formatCode="#,##0">
                  <c:v>12713</c:v>
                </c:pt>
                <c:pt idx="196" formatCode="#,##0">
                  <c:v>12748</c:v>
                </c:pt>
                <c:pt idx="197" formatCode="#,##0">
                  <c:v>13101</c:v>
                </c:pt>
                <c:pt idx="198" formatCode="#,##0">
                  <c:v>13656</c:v>
                </c:pt>
                <c:pt idx="199" formatCode="#,##0">
                  <c:v>13996</c:v>
                </c:pt>
                <c:pt idx="200" formatCode="#,##0">
                  <c:v>14212</c:v>
                </c:pt>
                <c:pt idx="201" formatCode="#,##0">
                  <c:v>14355</c:v>
                </c:pt>
                <c:pt idx="202" formatCode="#,##0">
                  <c:v>14459</c:v>
                </c:pt>
                <c:pt idx="203" formatCode="#,##0">
                  <c:v>14798</c:v>
                </c:pt>
                <c:pt idx="204" formatCode="#,##0">
                  <c:v>15193</c:v>
                </c:pt>
                <c:pt idx="205" formatCode="#,##0">
                  <c:v>15533</c:v>
                </c:pt>
                <c:pt idx="206" formatCode="#,##0">
                  <c:v>15751</c:v>
                </c:pt>
                <c:pt idx="207" formatCode="#,##0">
                  <c:v>15970</c:v>
                </c:pt>
                <c:pt idx="208" formatCode="#,##0">
                  <c:v>16238</c:v>
                </c:pt>
                <c:pt idx="209" formatCode="#,##0">
                  <c:v>16562</c:v>
                </c:pt>
                <c:pt idx="210" formatCode="#,##0">
                  <c:v>16916</c:v>
                </c:pt>
                <c:pt idx="211" formatCode="#,##0">
                  <c:v>17238</c:v>
                </c:pt>
                <c:pt idx="212" formatCode="#,##0">
                  <c:v>17526</c:v>
                </c:pt>
                <c:pt idx="213" formatCode="#,##0">
                  <c:v>17809</c:v>
                </c:pt>
                <c:pt idx="214" formatCode="#,##0">
                  <c:v>18129</c:v>
                </c:pt>
                <c:pt idx="215" formatCode="#,##0">
                  <c:v>18479</c:v>
                </c:pt>
                <c:pt idx="216" formatCode="#,##0">
                  <c:v>18832</c:v>
                </c:pt>
                <c:pt idx="217" formatCode="#,##0">
                  <c:v>19175</c:v>
                </c:pt>
                <c:pt idx="218" formatCode="#,##0">
                  <c:v>19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 formatCode="#,##0">
                  <c:v>13172</c:v>
                </c:pt>
                <c:pt idx="196" formatCode="#,##0">
                  <c:v>13502</c:v>
                </c:pt>
                <c:pt idx="197" formatCode="#,##0">
                  <c:v>14054</c:v>
                </c:pt>
                <c:pt idx="198" formatCode="#,##0">
                  <c:v>14758</c:v>
                </c:pt>
                <c:pt idx="199" formatCode="#,##0">
                  <c:v>15323</c:v>
                </c:pt>
                <c:pt idx="200" formatCode="#,##0">
                  <c:v>15816</c:v>
                </c:pt>
                <c:pt idx="201" formatCode="#,##0">
                  <c:v>16278</c:v>
                </c:pt>
                <c:pt idx="202" formatCode="#,##0">
                  <c:v>16733</c:v>
                </c:pt>
                <c:pt idx="203" formatCode="#,##0">
                  <c:v>17370</c:v>
                </c:pt>
                <c:pt idx="204" formatCode="#,##0">
                  <c:v>18058</c:v>
                </c:pt>
                <c:pt idx="205" formatCode="#,##0">
                  <c:v>18722</c:v>
                </c:pt>
                <c:pt idx="206" formatCode="#,##0">
                  <c:v>19314</c:v>
                </c:pt>
                <c:pt idx="207" formatCode="#,##0">
                  <c:v>19927</c:v>
                </c:pt>
                <c:pt idx="208" formatCode="#,##0">
                  <c:v>20598</c:v>
                </c:pt>
                <c:pt idx="209" formatCode="#,##0">
                  <c:v>21331</c:v>
                </c:pt>
                <c:pt idx="210" formatCode="#,##0">
                  <c:v>22105</c:v>
                </c:pt>
                <c:pt idx="211" formatCode="#,##0">
                  <c:v>22873</c:v>
                </c:pt>
                <c:pt idx="212" formatCode="#,##0">
                  <c:v>23635</c:v>
                </c:pt>
                <c:pt idx="213" formatCode="#,##0">
                  <c:v>24417</c:v>
                </c:pt>
                <c:pt idx="214" formatCode="#,##0">
                  <c:v>25254</c:v>
                </c:pt>
                <c:pt idx="215" formatCode="#,##0">
                  <c:v>26138</c:v>
                </c:pt>
                <c:pt idx="216" formatCode="#,##0">
                  <c:v>27049</c:v>
                </c:pt>
                <c:pt idx="217" formatCode="#,##0">
                  <c:v>27974</c:v>
                </c:pt>
                <c:pt idx="218" formatCode="#,##0">
                  <c:v>28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 formatCode="#,##0">
                  <c:v>13632</c:v>
                </c:pt>
                <c:pt idx="196" formatCode="#,##0">
                  <c:v>14255</c:v>
                </c:pt>
                <c:pt idx="197" formatCode="#,##0">
                  <c:v>15009</c:v>
                </c:pt>
                <c:pt idx="198" formatCode="#,##0">
                  <c:v>15860</c:v>
                </c:pt>
                <c:pt idx="199" formatCode="#,##0">
                  <c:v>16673</c:v>
                </c:pt>
                <c:pt idx="200" formatCode="#,##0">
                  <c:v>17483</c:v>
                </c:pt>
                <c:pt idx="201" formatCode="#,##0">
                  <c:v>18310</c:v>
                </c:pt>
                <c:pt idx="202" formatCode="#,##0">
                  <c:v>19171</c:v>
                </c:pt>
                <c:pt idx="203" formatCode="#,##0">
                  <c:v>20155</c:v>
                </c:pt>
                <c:pt idx="204" formatCode="#,##0">
                  <c:v>21202</c:v>
                </c:pt>
                <c:pt idx="205" formatCode="#,##0">
                  <c:v>22274</c:v>
                </c:pt>
                <c:pt idx="206" formatCode="#,##0">
                  <c:v>23350</c:v>
                </c:pt>
                <c:pt idx="207" formatCode="#,##0">
                  <c:v>24480</c:v>
                </c:pt>
                <c:pt idx="208" formatCode="#,##0">
                  <c:v>25689</c:v>
                </c:pt>
                <c:pt idx="209" formatCode="#,##0">
                  <c:v>26976</c:v>
                </c:pt>
                <c:pt idx="210" formatCode="#,##0">
                  <c:v>28334</c:v>
                </c:pt>
                <c:pt idx="211" formatCode="#,##0">
                  <c:v>29740</c:v>
                </c:pt>
                <c:pt idx="212" formatCode="#,##0">
                  <c:v>31198</c:v>
                </c:pt>
                <c:pt idx="213" formatCode="#,##0">
                  <c:v>32727</c:v>
                </c:pt>
                <c:pt idx="214" formatCode="#,##0">
                  <c:v>34347</c:v>
                </c:pt>
                <c:pt idx="215" formatCode="#,##0">
                  <c:v>36056</c:v>
                </c:pt>
                <c:pt idx="216" formatCode="#,##0">
                  <c:v>37846</c:v>
                </c:pt>
                <c:pt idx="217" formatCode="#,##0">
                  <c:v>39716</c:v>
                </c:pt>
                <c:pt idx="218" formatCode="#,##0">
                  <c:v>41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5B-44FD-BABB-7344EE2BF8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 formatCode="#,##0">
                  <c:v>14091</c:v>
                </c:pt>
                <c:pt idx="196" formatCode="#,##0">
                  <c:v>15009</c:v>
                </c:pt>
                <c:pt idx="197" formatCode="#,##0">
                  <c:v>15962</c:v>
                </c:pt>
                <c:pt idx="198" formatCode="#,##0">
                  <c:v>16962</c:v>
                </c:pt>
                <c:pt idx="199" formatCode="#,##0">
                  <c:v>18046</c:v>
                </c:pt>
                <c:pt idx="200" formatCode="#,##0">
                  <c:v>19209</c:v>
                </c:pt>
                <c:pt idx="201" formatCode="#,##0">
                  <c:v>20450</c:v>
                </c:pt>
                <c:pt idx="202" formatCode="#,##0">
                  <c:v>21772</c:v>
                </c:pt>
                <c:pt idx="203" formatCode="#,##0">
                  <c:v>23157</c:v>
                </c:pt>
                <c:pt idx="204" formatCode="#,##0">
                  <c:v>24628</c:v>
                </c:pt>
                <c:pt idx="205" formatCode="#,##0">
                  <c:v>26198</c:v>
                </c:pt>
                <c:pt idx="206" formatCode="#,##0">
                  <c:v>27883</c:v>
                </c:pt>
                <c:pt idx="207" formatCode="#,##0">
                  <c:v>29671</c:v>
                </c:pt>
                <c:pt idx="208" formatCode="#,##0">
                  <c:v>31568</c:v>
                </c:pt>
                <c:pt idx="209" formatCode="#,##0">
                  <c:v>33580</c:v>
                </c:pt>
                <c:pt idx="210" formatCode="#,##0">
                  <c:v>35719</c:v>
                </c:pt>
                <c:pt idx="211" formatCode="#,##0">
                  <c:v>37999</c:v>
                </c:pt>
                <c:pt idx="212" formatCode="#,##0">
                  <c:v>40428</c:v>
                </c:pt>
                <c:pt idx="213" formatCode="#,##0">
                  <c:v>43011</c:v>
                </c:pt>
                <c:pt idx="214" formatCode="#,##0">
                  <c:v>45755</c:v>
                </c:pt>
                <c:pt idx="215" formatCode="#,##0">
                  <c:v>48669</c:v>
                </c:pt>
                <c:pt idx="216" formatCode="#,##0">
                  <c:v>51770</c:v>
                </c:pt>
                <c:pt idx="217" formatCode="#,##0">
                  <c:v>55071</c:v>
                </c:pt>
                <c:pt idx="218" formatCode="#,##0">
                  <c:v>58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0A-4FB6-B884-CAA887A0F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56-44D5-9D37-C4836F1D4B2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4.871371021638094</c:v>
                </c:pt>
                <c:pt idx="1">
                  <c:v>24.194599021049299</c:v>
                </c:pt>
                <c:pt idx="2">
                  <c:v>24.194599021049299</c:v>
                </c:pt>
                <c:pt idx="3">
                  <c:v>25.04056402178529</c:v>
                </c:pt>
                <c:pt idx="4">
                  <c:v>24.194599021049299</c:v>
                </c:pt>
                <c:pt idx="5">
                  <c:v>25.04056402178529</c:v>
                </c:pt>
                <c:pt idx="6">
                  <c:v>24.025406020902103</c:v>
                </c:pt>
                <c:pt idx="7">
                  <c:v>21.656704018841335</c:v>
                </c:pt>
                <c:pt idx="8">
                  <c:v>22.502669019577322</c:v>
                </c:pt>
                <c:pt idx="9">
                  <c:v>20.13396701751655</c:v>
                </c:pt>
                <c:pt idx="10">
                  <c:v>18.272844015897377</c:v>
                </c:pt>
                <c:pt idx="11">
                  <c:v>17.596072015308582</c:v>
                </c:pt>
                <c:pt idx="12">
                  <c:v>16.580914014425396</c:v>
                </c:pt>
                <c:pt idx="13">
                  <c:v>14.55059801265902</c:v>
                </c:pt>
                <c:pt idx="14">
                  <c:v>13.366247011628635</c:v>
                </c:pt>
                <c:pt idx="15">
                  <c:v>10.48996600912627</c:v>
                </c:pt>
                <c:pt idx="16">
                  <c:v>9.6440010083902798</c:v>
                </c:pt>
                <c:pt idx="17">
                  <c:v>8.290457007212698</c:v>
                </c:pt>
                <c:pt idx="18">
                  <c:v>8.4596500073598957</c:v>
                </c:pt>
                <c:pt idx="19">
                  <c:v>8.4596500073598957</c:v>
                </c:pt>
                <c:pt idx="20">
                  <c:v>7.9520710069183016</c:v>
                </c:pt>
                <c:pt idx="21">
                  <c:v>5.2449830045631352</c:v>
                </c:pt>
                <c:pt idx="22">
                  <c:v>4.9065970042687397</c:v>
                </c:pt>
                <c:pt idx="23">
                  <c:v>4.2298250036799478</c:v>
                </c:pt>
                <c:pt idx="24">
                  <c:v>3.2146670027967605</c:v>
                </c:pt>
                <c:pt idx="25">
                  <c:v>3.0454740026495624</c:v>
                </c:pt>
                <c:pt idx="26">
                  <c:v>3.2146670027967605</c:v>
                </c:pt>
                <c:pt idx="27">
                  <c:v>2.7070880023551669</c:v>
                </c:pt>
                <c:pt idx="28">
                  <c:v>5.2449830045631352</c:v>
                </c:pt>
                <c:pt idx="29">
                  <c:v>6.7677200058879166</c:v>
                </c:pt>
                <c:pt idx="30">
                  <c:v>9.1364220079486884</c:v>
                </c:pt>
                <c:pt idx="31">
                  <c:v>12.181896010598249</c:v>
                </c:pt>
                <c:pt idx="32">
                  <c:v>13.197054011481436</c:v>
                </c:pt>
                <c:pt idx="33">
                  <c:v>13.704633011923031</c:v>
                </c:pt>
                <c:pt idx="34">
                  <c:v>16.411721014278196</c:v>
                </c:pt>
                <c:pt idx="35">
                  <c:v>15.058177013100615</c:v>
                </c:pt>
                <c:pt idx="36">
                  <c:v>19.457195016927759</c:v>
                </c:pt>
                <c:pt idx="37">
                  <c:v>21.487511018694132</c:v>
                </c:pt>
                <c:pt idx="38">
                  <c:v>25.04056402178529</c:v>
                </c:pt>
                <c:pt idx="39">
                  <c:v>27.409266023846062</c:v>
                </c:pt>
                <c:pt idx="40">
                  <c:v>29.94716102605403</c:v>
                </c:pt>
                <c:pt idx="41">
                  <c:v>32.992635028703596</c:v>
                </c:pt>
                <c:pt idx="42">
                  <c:v>37.560846032677937</c:v>
                </c:pt>
                <c:pt idx="43">
                  <c:v>37.053267032236342</c:v>
                </c:pt>
                <c:pt idx="44">
                  <c:v>37.222460032383538</c:v>
                </c:pt>
                <c:pt idx="45">
                  <c:v>34.007793029586779</c:v>
                </c:pt>
                <c:pt idx="46">
                  <c:v>36.207302031500348</c:v>
                </c:pt>
                <c:pt idx="47">
                  <c:v>35.022951030469969</c:v>
                </c:pt>
                <c:pt idx="48">
                  <c:v>34.007793029586779</c:v>
                </c:pt>
                <c:pt idx="49">
                  <c:v>34.007793029586779</c:v>
                </c:pt>
                <c:pt idx="50">
                  <c:v>35.192144030617165</c:v>
                </c:pt>
                <c:pt idx="51">
                  <c:v>32.992635028703596</c:v>
                </c:pt>
                <c:pt idx="52">
                  <c:v>34.176986029733975</c:v>
                </c:pt>
                <c:pt idx="53">
                  <c:v>30.285547026348429</c:v>
                </c:pt>
                <c:pt idx="54">
                  <c:v>28.932003025170843</c:v>
                </c:pt>
                <c:pt idx="55">
                  <c:v>27.747652024140457</c:v>
                </c:pt>
                <c:pt idx="56">
                  <c:v>27.747652024140457</c:v>
                </c:pt>
                <c:pt idx="57">
                  <c:v>26.732494023257271</c:v>
                </c:pt>
                <c:pt idx="58">
                  <c:v>29.608775025759634</c:v>
                </c:pt>
                <c:pt idx="59">
                  <c:v>29.101196025318039</c:v>
                </c:pt>
                <c:pt idx="60">
                  <c:v>28.932003025170843</c:v>
                </c:pt>
                <c:pt idx="61">
                  <c:v>29.777968025906834</c:v>
                </c:pt>
                <c:pt idx="62">
                  <c:v>28.762810025023644</c:v>
                </c:pt>
                <c:pt idx="63">
                  <c:v>26.732494023257271</c:v>
                </c:pt>
                <c:pt idx="64">
                  <c:v>22.841055019871717</c:v>
                </c:pt>
                <c:pt idx="65">
                  <c:v>19.28800201678056</c:v>
                </c:pt>
                <c:pt idx="66">
                  <c:v>16.750107014572592</c:v>
                </c:pt>
                <c:pt idx="67">
                  <c:v>15.904142013836603</c:v>
                </c:pt>
                <c:pt idx="68">
                  <c:v>14.55059801265902</c:v>
                </c:pt>
                <c:pt idx="69">
                  <c:v>13.197054011481436</c:v>
                </c:pt>
                <c:pt idx="70">
                  <c:v>11.335931009862259</c:v>
                </c:pt>
                <c:pt idx="71">
                  <c:v>10.48996600912627</c:v>
                </c:pt>
                <c:pt idx="72">
                  <c:v>10.48996600912627</c:v>
                </c:pt>
                <c:pt idx="73">
                  <c:v>10.828352009420668</c:v>
                </c:pt>
                <c:pt idx="74">
                  <c:v>10.997545009567864</c:v>
                </c:pt>
                <c:pt idx="75">
                  <c:v>11.335931009862259</c:v>
                </c:pt>
                <c:pt idx="76">
                  <c:v>12.181896010598249</c:v>
                </c:pt>
                <c:pt idx="77">
                  <c:v>12.520282010892645</c:v>
                </c:pt>
                <c:pt idx="78">
                  <c:v>11.843510010303854</c:v>
                </c:pt>
                <c:pt idx="79">
                  <c:v>10.828352009420668</c:v>
                </c:pt>
                <c:pt idx="80">
                  <c:v>9.1364220079486884</c:v>
                </c:pt>
                <c:pt idx="81">
                  <c:v>8.6288430075070934</c:v>
                </c:pt>
                <c:pt idx="82">
                  <c:v>8.4596500073598957</c:v>
                </c:pt>
                <c:pt idx="83">
                  <c:v>6.9369130060351143</c:v>
                </c:pt>
                <c:pt idx="84">
                  <c:v>5.921755005151927</c:v>
                </c:pt>
                <c:pt idx="85">
                  <c:v>6.5985270057407179</c:v>
                </c:pt>
                <c:pt idx="86">
                  <c:v>6.7677200058879166</c:v>
                </c:pt>
                <c:pt idx="87">
                  <c:v>7.6136850066239052</c:v>
                </c:pt>
                <c:pt idx="88">
                  <c:v>8.4596500073598957</c:v>
                </c:pt>
                <c:pt idx="89">
                  <c:v>8.290457007212698</c:v>
                </c:pt>
                <c:pt idx="90">
                  <c:v>8.6288430075070934</c:v>
                </c:pt>
                <c:pt idx="91">
                  <c:v>9.6440010083902798</c:v>
                </c:pt>
                <c:pt idx="92">
                  <c:v>10.828352009420668</c:v>
                </c:pt>
                <c:pt idx="93">
                  <c:v>11.674317010156656</c:v>
                </c:pt>
                <c:pt idx="94">
                  <c:v>11.843510010303854</c:v>
                </c:pt>
                <c:pt idx="95">
                  <c:v>10.48996600912627</c:v>
                </c:pt>
                <c:pt idx="96">
                  <c:v>11.335931009862259</c:v>
                </c:pt>
                <c:pt idx="97">
                  <c:v>11.843510010303854</c:v>
                </c:pt>
                <c:pt idx="98">
                  <c:v>12.858668011187042</c:v>
                </c:pt>
                <c:pt idx="99">
                  <c:v>13.02786101133424</c:v>
                </c:pt>
                <c:pt idx="100">
                  <c:v>13.197054011481436</c:v>
                </c:pt>
                <c:pt idx="101">
                  <c:v>14.719791012806217</c:v>
                </c:pt>
                <c:pt idx="102">
                  <c:v>16.242528014131</c:v>
                </c:pt>
                <c:pt idx="103">
                  <c:v>15.734949013689405</c:v>
                </c:pt>
                <c:pt idx="104">
                  <c:v>18.611230016191769</c:v>
                </c:pt>
                <c:pt idx="105">
                  <c:v>21.318318018546936</c:v>
                </c:pt>
                <c:pt idx="106">
                  <c:v>23.179441020166113</c:v>
                </c:pt>
                <c:pt idx="107">
                  <c:v>28.424424024729252</c:v>
                </c:pt>
                <c:pt idx="108">
                  <c:v>27.578459023993261</c:v>
                </c:pt>
                <c:pt idx="109">
                  <c:v>27.240073023698862</c:v>
                </c:pt>
                <c:pt idx="110">
                  <c:v>27.916845024287657</c:v>
                </c:pt>
                <c:pt idx="111">
                  <c:v>28.255231024582052</c:v>
                </c:pt>
                <c:pt idx="112">
                  <c:v>26.394108022962872</c:v>
                </c:pt>
                <c:pt idx="113">
                  <c:v>25.548143022226885</c:v>
                </c:pt>
                <c:pt idx="114">
                  <c:v>21.656704018841335</c:v>
                </c:pt>
                <c:pt idx="115">
                  <c:v>22.671862019724518</c:v>
                </c:pt>
                <c:pt idx="116">
                  <c:v>24.194599021049299</c:v>
                </c:pt>
                <c:pt idx="117">
                  <c:v>25.548143022226885</c:v>
                </c:pt>
                <c:pt idx="118">
                  <c:v>25.548143022226885</c:v>
                </c:pt>
                <c:pt idx="119">
                  <c:v>24.871371021638094</c:v>
                </c:pt>
                <c:pt idx="120">
                  <c:v>27.578459023993261</c:v>
                </c:pt>
                <c:pt idx="121">
                  <c:v>31.131512027084415</c:v>
                </c:pt>
                <c:pt idx="122">
                  <c:v>36.376495031647551</c:v>
                </c:pt>
                <c:pt idx="123">
                  <c:v>37.391653032530741</c:v>
                </c:pt>
                <c:pt idx="124">
                  <c:v>36.545688031794754</c:v>
                </c:pt>
                <c:pt idx="125">
                  <c:v>41.28309203591629</c:v>
                </c:pt>
                <c:pt idx="126">
                  <c:v>46.358882040332226</c:v>
                </c:pt>
                <c:pt idx="127">
                  <c:v>47.374040041215416</c:v>
                </c:pt>
                <c:pt idx="128">
                  <c:v>47.881619041657004</c:v>
                </c:pt>
                <c:pt idx="129">
                  <c:v>47.20484704106822</c:v>
                </c:pt>
                <c:pt idx="130">
                  <c:v>50.588707044012175</c:v>
                </c:pt>
                <c:pt idx="131">
                  <c:v>50.08112804357058</c:v>
                </c:pt>
                <c:pt idx="132">
                  <c:v>54.649339047544927</c:v>
                </c:pt>
                <c:pt idx="133">
                  <c:v>63.954954055640812</c:v>
                </c:pt>
                <c:pt idx="134">
                  <c:v>72.583797063147912</c:v>
                </c:pt>
                <c:pt idx="135">
                  <c:v>83.581342072715771</c:v>
                </c:pt>
                <c:pt idx="136">
                  <c:v>95.932431083461225</c:v>
                </c:pt>
                <c:pt idx="137">
                  <c:v>99.823870086846767</c:v>
                </c:pt>
                <c:pt idx="138">
                  <c:v>104.89966009126272</c:v>
                </c:pt>
                <c:pt idx="139">
                  <c:v>112.68253809803382</c:v>
                </c:pt>
                <c:pt idx="140">
                  <c:v>131.63215411451998</c:v>
                </c:pt>
                <c:pt idx="141">
                  <c:v>149.22822612982856</c:v>
                </c:pt>
                <c:pt idx="142">
                  <c:v>173.08443915058345</c:v>
                </c:pt>
                <c:pt idx="143">
                  <c:v>192.71082716765844</c:v>
                </c:pt>
                <c:pt idx="144">
                  <c:v>201.50886317531271</c:v>
                </c:pt>
                <c:pt idx="145">
                  <c:v>212.50640818488057</c:v>
                </c:pt>
                <c:pt idx="146">
                  <c:v>236.36262120563549</c:v>
                </c:pt>
                <c:pt idx="147">
                  <c:v>259.03448322535996</c:v>
                </c:pt>
                <c:pt idx="148">
                  <c:v>282.55231024582048</c:v>
                </c:pt>
                <c:pt idx="149">
                  <c:v>287.12052124979482</c:v>
                </c:pt>
                <c:pt idx="150">
                  <c:v>307.08529526716421</c:v>
                </c:pt>
                <c:pt idx="151">
                  <c:v>337.37084229351262</c:v>
                </c:pt>
                <c:pt idx="152">
                  <c:v>343.12340429851736</c:v>
                </c:pt>
                <c:pt idx="153">
                  <c:v>372.0554073236882</c:v>
                </c:pt>
                <c:pt idx="154">
                  <c:v>391.68179534076319</c:v>
                </c:pt>
                <c:pt idx="155">
                  <c:v>421.9673423671116</c:v>
                </c:pt>
                <c:pt idx="156">
                  <c:v>451.74531039301843</c:v>
                </c:pt>
                <c:pt idx="157">
                  <c:v>486.26068242304677</c:v>
                </c:pt>
                <c:pt idx="158">
                  <c:v>485.41471742231079</c:v>
                </c:pt>
                <c:pt idx="159">
                  <c:v>478.13941841598131</c:v>
                </c:pt>
                <c:pt idx="160">
                  <c:v>516.71542244954242</c:v>
                </c:pt>
                <c:pt idx="161">
                  <c:v>590.99114951416232</c:v>
                </c:pt>
                <c:pt idx="162">
                  <c:v>611.80188853226764</c:v>
                </c:pt>
                <c:pt idx="163">
                  <c:v>624.32217054316027</c:v>
                </c:pt>
                <c:pt idx="164">
                  <c:v>628.38280254669303</c:v>
                </c:pt>
                <c:pt idx="165">
                  <c:v>688.6155105990955</c:v>
                </c:pt>
                <c:pt idx="166">
                  <c:v>707.05754761514004</c:v>
                </c:pt>
                <c:pt idx="167">
                  <c:v>705.02723161337371</c:v>
                </c:pt>
                <c:pt idx="168">
                  <c:v>760.01495666121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356-44D5-9D37-C4836F1D4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35.82729455316974</c:v>
                </c:pt>
                <c:pt idx="165" formatCode="0">
                  <c:v>656.46884057112788</c:v>
                </c:pt>
                <c:pt idx="166" formatCode="0">
                  <c:v>675.0800705873196</c:v>
                </c:pt>
                <c:pt idx="167" formatCode="0">
                  <c:v>692.67614260262826</c:v>
                </c:pt>
                <c:pt idx="168" formatCode="0">
                  <c:v>707.56512661558168</c:v>
                </c:pt>
                <c:pt idx="169" formatCode="0">
                  <c:v>718.56267162514951</c:v>
                </c:pt>
                <c:pt idx="170" formatCode="0">
                  <c:v>724.48442663030141</c:v>
                </c:pt>
                <c:pt idx="171" formatCode="0">
                  <c:v>735.14358563957489</c:v>
                </c:pt>
                <c:pt idx="172" formatCode="0">
                  <c:v>750.70934165311712</c:v>
                </c:pt>
                <c:pt idx="173" formatCode="0">
                  <c:v>766.6134836669537</c:v>
                </c:pt>
                <c:pt idx="174" formatCode="0">
                  <c:v>780.99488867946559</c:v>
                </c:pt>
                <c:pt idx="175" formatCode="0">
                  <c:v>794.3611356910942</c:v>
                </c:pt>
                <c:pt idx="176" formatCode="0">
                  <c:v>807.72738270272293</c:v>
                </c:pt>
                <c:pt idx="177" formatCode="0">
                  <c:v>822.1087877152346</c:v>
                </c:pt>
                <c:pt idx="178" formatCode="0">
                  <c:v>838.01292972907129</c:v>
                </c:pt>
                <c:pt idx="179" formatCode="0">
                  <c:v>854.08626474305504</c:v>
                </c:pt>
                <c:pt idx="180" formatCode="0">
                  <c:v>869.65202075659727</c:v>
                </c:pt>
                <c:pt idx="181" formatCode="0">
                  <c:v>884.87939076984503</c:v>
                </c:pt>
                <c:pt idx="182" formatCode="0">
                  <c:v>900.44514678338726</c:v>
                </c:pt>
                <c:pt idx="183" formatCode="0">
                  <c:v>916.85686779766547</c:v>
                </c:pt>
                <c:pt idx="184" formatCode="0">
                  <c:v>933.9453608125325</c:v>
                </c:pt>
                <c:pt idx="185" formatCode="0">
                  <c:v>951.2030468275467</c:v>
                </c:pt>
                <c:pt idx="186" formatCode="0">
                  <c:v>968.4607328425609</c:v>
                </c:pt>
                <c:pt idx="187" formatCode="0">
                  <c:v>985.71841885757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356-44D5-9D37-C4836F1D4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39.54954055640803</c:v>
                </c:pt>
                <c:pt idx="165" formatCode="0">
                  <c:v>665.94364857937092</c:v>
                </c:pt>
                <c:pt idx="166" formatCode="0">
                  <c:v>691.66098460174499</c:v>
                </c:pt>
                <c:pt idx="167" formatCode="0">
                  <c:v>717.71670662441352</c:v>
                </c:pt>
                <c:pt idx="168" formatCode="0">
                  <c:v>742.58807764605172</c:v>
                </c:pt>
                <c:pt idx="169" formatCode="0">
                  <c:v>765.76751866621771</c:v>
                </c:pt>
                <c:pt idx="170" formatCode="0">
                  <c:v>786.23987168402869</c:v>
                </c:pt>
                <c:pt idx="171" formatCode="0">
                  <c:v>810.43447070507807</c:v>
                </c:pt>
                <c:pt idx="172" formatCode="0">
                  <c:v>839.87405273069044</c:v>
                </c:pt>
                <c:pt idx="173" formatCode="0">
                  <c:v>870.49798575733314</c:v>
                </c:pt>
                <c:pt idx="174" formatCode="0">
                  <c:v>900.61433978353443</c:v>
                </c:pt>
                <c:pt idx="175" formatCode="0">
                  <c:v>931.06907981003008</c:v>
                </c:pt>
                <c:pt idx="176" formatCode="0">
                  <c:v>962.3697848372617</c:v>
                </c:pt>
                <c:pt idx="177" formatCode="0">
                  <c:v>995.36241986596519</c:v>
                </c:pt>
                <c:pt idx="178" formatCode="0">
                  <c:v>1030.3853708964352</c:v>
                </c:pt>
                <c:pt idx="179" formatCode="0">
                  <c:v>1066.4234799277885</c:v>
                </c:pt>
                <c:pt idx="180" formatCode="0">
                  <c:v>1102.9691679595833</c:v>
                </c:pt>
                <c:pt idx="181" formatCode="0">
                  <c:v>1140.5300139922613</c:v>
                </c:pt>
                <c:pt idx="182" formatCode="0">
                  <c:v>1179.4444040261167</c:v>
                </c:pt>
                <c:pt idx="183" formatCode="0">
                  <c:v>1219.881531061297</c:v>
                </c:pt>
                <c:pt idx="184" formatCode="0">
                  <c:v>1262.0105880979493</c:v>
                </c:pt>
                <c:pt idx="185" formatCode="0">
                  <c:v>1305.4931891357789</c:v>
                </c:pt>
                <c:pt idx="186" formatCode="0">
                  <c:v>1350.1601411746392</c:v>
                </c:pt>
                <c:pt idx="187" formatCode="0">
                  <c:v>1396.1806372146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356-44D5-9D37-C4836F1D4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43.10259355949927</c:v>
                </c:pt>
                <c:pt idx="165" formatCode="0">
                  <c:v>675.0800705873196</c:v>
                </c:pt>
                <c:pt idx="166" formatCode="0">
                  <c:v>708.07270561602331</c:v>
                </c:pt>
                <c:pt idx="167" formatCode="0">
                  <c:v>742.58807764605172</c:v>
                </c:pt>
                <c:pt idx="168" formatCode="0">
                  <c:v>777.78022167666882</c:v>
                </c:pt>
                <c:pt idx="169" formatCode="0">
                  <c:v>813.64913770787473</c:v>
                </c:pt>
                <c:pt idx="170" formatCode="0">
                  <c:v>849.68724673922782</c:v>
                </c:pt>
                <c:pt idx="171" formatCode="0">
                  <c:v>888.94002277337779</c:v>
                </c:pt>
                <c:pt idx="172" formatCode="0">
                  <c:v>933.9453608125325</c:v>
                </c:pt>
                <c:pt idx="173" formatCode="0">
                  <c:v>981.1502078536007</c:v>
                </c:pt>
                <c:pt idx="174" formatCode="0">
                  <c:v>1029.8777918959936</c:v>
                </c:pt>
                <c:pt idx="175" formatCode="0">
                  <c:v>1080.8048849403001</c:v>
                </c:pt>
                <c:pt idx="176" formatCode="0">
                  <c:v>1134.1006799866675</c:v>
                </c:pt>
                <c:pt idx="177" formatCode="0">
                  <c:v>1190.2727560355374</c:v>
                </c:pt>
                <c:pt idx="178" formatCode="0">
                  <c:v>1249.6594990872036</c:v>
                </c:pt>
                <c:pt idx="179" formatCode="0">
                  <c:v>1311.9225231413727</c:v>
                </c:pt>
                <c:pt idx="180" formatCode="0">
                  <c:v>1376.8926351978967</c:v>
                </c:pt>
                <c:pt idx="181" formatCode="0">
                  <c:v>1444.9082212570702</c:v>
                </c:pt>
                <c:pt idx="182" formatCode="0">
                  <c:v>1516.3076673191877</c:v>
                </c:pt>
                <c:pt idx="183" formatCode="0">
                  <c:v>1591.4293593845434</c:v>
                </c:pt>
                <c:pt idx="184" formatCode="0">
                  <c:v>1670.2732974531377</c:v>
                </c:pt>
                <c:pt idx="185" formatCode="0">
                  <c:v>1753.0086745251176</c:v>
                </c:pt>
                <c:pt idx="186" formatCode="0">
                  <c:v>1839.6354906004831</c:v>
                </c:pt>
                <c:pt idx="187" formatCode="0">
                  <c:v>1930.492131679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356-44D5-9D37-C4836F1D4B2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46.65564656259039</c:v>
                </c:pt>
                <c:pt idx="165" formatCode="0">
                  <c:v>684.38568559541557</c:v>
                </c:pt>
                <c:pt idx="166" formatCode="0">
                  <c:v>724.65361963044859</c:v>
                </c:pt>
                <c:pt idx="167" formatCode="0">
                  <c:v>767.4594486676898</c:v>
                </c:pt>
                <c:pt idx="168" formatCode="0">
                  <c:v>813.14155870743309</c:v>
                </c:pt>
                <c:pt idx="169" formatCode="0">
                  <c:v>862.03833574997338</c:v>
                </c:pt>
                <c:pt idx="170" formatCode="0">
                  <c:v>914.31897279545751</c:v>
                </c:pt>
                <c:pt idx="171" formatCode="0">
                  <c:v>969.81427684373853</c:v>
                </c:pt>
                <c:pt idx="172" formatCode="0">
                  <c:v>1031.9081078977601</c:v>
                </c:pt>
                <c:pt idx="173" formatCode="0">
                  <c:v>1097.8933779551674</c:v>
                </c:pt>
                <c:pt idx="174" formatCode="0">
                  <c:v>1168.2776660164016</c:v>
                </c:pt>
                <c:pt idx="175" formatCode="0">
                  <c:v>1243.2301650816103</c:v>
                </c:pt>
                <c:pt idx="176" formatCode="0">
                  <c:v>1322.9200681509406</c:v>
                </c:pt>
                <c:pt idx="177" formatCode="0">
                  <c:v>1407.5165682245395</c:v>
                </c:pt>
                <c:pt idx="178" formatCode="0">
                  <c:v>1497.3580513027016</c:v>
                </c:pt>
                <c:pt idx="179" formatCode="0">
                  <c:v>1592.9520963858683</c:v>
                </c:pt>
                <c:pt idx="180" formatCode="0">
                  <c:v>1694.8062824744813</c:v>
                </c:pt>
                <c:pt idx="181" formatCode="0">
                  <c:v>1803.0898025686879</c:v>
                </c:pt>
                <c:pt idx="182" formatCode="0">
                  <c:v>1918.1410426687826</c:v>
                </c:pt>
                <c:pt idx="183" formatCode="0">
                  <c:v>2040.6367747753541</c:v>
                </c:pt>
                <c:pt idx="184" formatCode="0">
                  <c:v>2170.9153848886963</c:v>
                </c:pt>
                <c:pt idx="185" formatCode="0">
                  <c:v>2309.4844520092515</c:v>
                </c:pt>
                <c:pt idx="186" formatCode="0">
                  <c:v>2456.8515551374608</c:v>
                </c:pt>
                <c:pt idx="187" formatCode="0">
                  <c:v>2613.5242732737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27</c:v>
                </c:pt>
                <c:pt idx="1">
                  <c:v>1</c:v>
                </c:pt>
                <c:pt idx="2">
                  <c:v>8</c:v>
                </c:pt>
                <c:pt idx="3">
                  <c:v>26</c:v>
                </c:pt>
                <c:pt idx="4">
                  <c:v>30</c:v>
                </c:pt>
                <c:pt idx="5">
                  <c:v>9</c:v>
                </c:pt>
                <c:pt idx="6">
                  <c:v>14</c:v>
                </c:pt>
                <c:pt idx="7">
                  <c:v>11</c:v>
                </c:pt>
                <c:pt idx="8">
                  <c:v>2</c:v>
                </c:pt>
                <c:pt idx="9">
                  <c:v>26</c:v>
                </c:pt>
                <c:pt idx="10">
                  <c:v>8</c:v>
                </c:pt>
                <c:pt idx="11">
                  <c:v>20</c:v>
                </c:pt>
                <c:pt idx="12">
                  <c:v>12</c:v>
                </c:pt>
                <c:pt idx="13">
                  <c:v>7</c:v>
                </c:pt>
                <c:pt idx="14">
                  <c:v>16</c:v>
                </c:pt>
                <c:pt idx="15">
                  <c:v>0</c:v>
                </c:pt>
                <c:pt idx="16">
                  <c:v>15</c:v>
                </c:pt>
                <c:pt idx="17">
                  <c:v>20</c:v>
                </c:pt>
                <c:pt idx="18">
                  <c:v>3</c:v>
                </c:pt>
                <c:pt idx="19">
                  <c:v>1</c:v>
                </c:pt>
                <c:pt idx="20">
                  <c:v>5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3</c:v>
                </c:pt>
                <c:pt idx="26">
                  <c:v>3</c:v>
                </c:pt>
                <c:pt idx="27">
                  <c:v>7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2</c:v>
                </c:pt>
                <c:pt idx="32">
                  <c:v>3</c:v>
                </c:pt>
                <c:pt idx="33">
                  <c:v>0</c:v>
                </c:pt>
                <c:pt idx="34">
                  <c:v>2</c:v>
                </c:pt>
                <c:pt idx="35">
                  <c:v>1</c:v>
                </c:pt>
                <c:pt idx="36">
                  <c:v>2</c:v>
                </c:pt>
                <c:pt idx="37">
                  <c:v>5</c:v>
                </c:pt>
                <c:pt idx="38">
                  <c:v>0</c:v>
                </c:pt>
                <c:pt idx="39">
                  <c:v>4</c:v>
                </c:pt>
                <c:pt idx="40">
                  <c:v>4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3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0</c:v>
                </c:pt>
                <c:pt idx="62">
                  <c:v>2</c:v>
                </c:pt>
                <c:pt idx="63">
                  <c:v>3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1</c:v>
                </c:pt>
                <c:pt idx="69">
                  <c:v>2</c:v>
                </c:pt>
                <c:pt idx="70">
                  <c:v>1</c:v>
                </c:pt>
                <c:pt idx="71">
                  <c:v>0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7</c:v>
                </c:pt>
                <c:pt idx="78">
                  <c:v>2</c:v>
                </c:pt>
                <c:pt idx="79">
                  <c:v>2</c:v>
                </c:pt>
                <c:pt idx="80">
                  <c:v>4</c:v>
                </c:pt>
                <c:pt idx="81">
                  <c:v>11</c:v>
                </c:pt>
                <c:pt idx="82">
                  <c:v>4</c:v>
                </c:pt>
                <c:pt idx="83">
                  <c:v>1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3</c:v>
                </c:pt>
                <c:pt idx="88">
                  <c:v>0</c:v>
                </c:pt>
                <c:pt idx="89">
                  <c:v>3</c:v>
                </c:pt>
                <c:pt idx="90">
                  <c:v>1</c:v>
                </c:pt>
                <c:pt idx="91">
                  <c:v>2</c:v>
                </c:pt>
                <c:pt idx="92">
                  <c:v>0</c:v>
                </c:pt>
                <c:pt idx="93">
                  <c:v>0</c:v>
                </c:pt>
                <c:pt idx="94">
                  <c:v>3</c:v>
                </c:pt>
                <c:pt idx="95">
                  <c:v>1</c:v>
                </c:pt>
                <c:pt idx="96">
                  <c:v>3</c:v>
                </c:pt>
                <c:pt idx="97">
                  <c:v>2</c:v>
                </c:pt>
                <c:pt idx="98">
                  <c:v>2</c:v>
                </c:pt>
                <c:pt idx="99">
                  <c:v>0</c:v>
                </c:pt>
                <c:pt idx="100">
                  <c:v>1</c:v>
                </c:pt>
                <c:pt idx="101">
                  <c:v>10</c:v>
                </c:pt>
                <c:pt idx="102">
                  <c:v>9</c:v>
                </c:pt>
                <c:pt idx="103">
                  <c:v>5</c:v>
                </c:pt>
                <c:pt idx="104">
                  <c:v>6</c:v>
                </c:pt>
                <c:pt idx="105">
                  <c:v>4</c:v>
                </c:pt>
                <c:pt idx="106">
                  <c:v>0</c:v>
                </c:pt>
                <c:pt idx="107">
                  <c:v>1</c:v>
                </c:pt>
                <c:pt idx="108">
                  <c:v>11</c:v>
                </c:pt>
                <c:pt idx="109">
                  <c:v>6</c:v>
                </c:pt>
                <c:pt idx="110">
                  <c:v>2</c:v>
                </c:pt>
                <c:pt idx="111">
                  <c:v>7</c:v>
                </c:pt>
                <c:pt idx="112">
                  <c:v>5</c:v>
                </c:pt>
                <c:pt idx="113">
                  <c:v>0</c:v>
                </c:pt>
                <c:pt idx="114">
                  <c:v>7</c:v>
                </c:pt>
                <c:pt idx="115">
                  <c:v>10</c:v>
                </c:pt>
                <c:pt idx="116">
                  <c:v>4</c:v>
                </c:pt>
                <c:pt idx="117">
                  <c:v>2</c:v>
                </c:pt>
                <c:pt idx="118">
                  <c:v>7</c:v>
                </c:pt>
                <c:pt idx="119">
                  <c:v>3</c:v>
                </c:pt>
                <c:pt idx="120">
                  <c:v>3</c:v>
                </c:pt>
                <c:pt idx="121">
                  <c:v>14</c:v>
                </c:pt>
                <c:pt idx="122">
                  <c:v>16</c:v>
                </c:pt>
                <c:pt idx="123">
                  <c:v>14</c:v>
                </c:pt>
                <c:pt idx="124">
                  <c:v>23</c:v>
                </c:pt>
                <c:pt idx="125">
                  <c:v>12</c:v>
                </c:pt>
                <c:pt idx="126">
                  <c:v>13</c:v>
                </c:pt>
                <c:pt idx="127">
                  <c:v>3</c:v>
                </c:pt>
                <c:pt idx="128">
                  <c:v>17</c:v>
                </c:pt>
                <c:pt idx="129">
                  <c:v>32</c:v>
                </c:pt>
                <c:pt idx="130">
                  <c:v>24</c:v>
                </c:pt>
                <c:pt idx="131">
                  <c:v>24</c:v>
                </c:pt>
                <c:pt idx="132">
                  <c:v>19</c:v>
                </c:pt>
                <c:pt idx="133">
                  <c:v>21</c:v>
                </c:pt>
                <c:pt idx="134">
                  <c:v>5</c:v>
                </c:pt>
                <c:pt idx="135">
                  <c:v>14</c:v>
                </c:pt>
                <c:pt idx="136">
                  <c:v>11</c:v>
                </c:pt>
                <c:pt idx="137">
                  <c:v>28</c:v>
                </c:pt>
                <c:pt idx="138">
                  <c:v>18</c:v>
                </c:pt>
                <c:pt idx="139">
                  <c:v>9</c:v>
                </c:pt>
                <c:pt idx="140">
                  <c:v>7</c:v>
                </c:pt>
                <c:pt idx="141">
                  <c:v>6</c:v>
                </c:pt>
                <c:pt idx="142">
                  <c:v>6</c:v>
                </c:pt>
                <c:pt idx="143">
                  <c:v>17</c:v>
                </c:pt>
                <c:pt idx="144">
                  <c:v>15</c:v>
                </c:pt>
                <c:pt idx="145">
                  <c:v>9</c:v>
                </c:pt>
                <c:pt idx="146">
                  <c:v>5</c:v>
                </c:pt>
                <c:pt idx="147">
                  <c:v>11</c:v>
                </c:pt>
                <c:pt idx="148">
                  <c:v>0</c:v>
                </c:pt>
                <c:pt idx="149">
                  <c:v>6</c:v>
                </c:pt>
                <c:pt idx="150">
                  <c:v>11</c:v>
                </c:pt>
                <c:pt idx="151">
                  <c:v>4</c:v>
                </c:pt>
                <c:pt idx="152">
                  <c:v>6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8</c:v>
                </c:pt>
                <c:pt idx="157">
                  <c:v>10</c:v>
                </c:pt>
                <c:pt idx="158">
                  <c:v>10</c:v>
                </c:pt>
                <c:pt idx="159">
                  <c:v>11</c:v>
                </c:pt>
                <c:pt idx="160">
                  <c:v>16</c:v>
                </c:pt>
                <c:pt idx="161">
                  <c:v>13</c:v>
                </c:pt>
                <c:pt idx="162">
                  <c:v>0</c:v>
                </c:pt>
                <c:pt idx="163">
                  <c:v>16</c:v>
                </c:pt>
                <c:pt idx="164">
                  <c:v>24</c:v>
                </c:pt>
                <c:pt idx="165">
                  <c:v>9</c:v>
                </c:pt>
                <c:pt idx="166">
                  <c:v>27</c:v>
                </c:pt>
                <c:pt idx="167">
                  <c:v>20</c:v>
                </c:pt>
                <c:pt idx="168">
                  <c:v>24</c:v>
                </c:pt>
                <c:pt idx="169">
                  <c:v>7</c:v>
                </c:pt>
                <c:pt idx="170">
                  <c:v>25</c:v>
                </c:pt>
                <c:pt idx="171">
                  <c:v>36</c:v>
                </c:pt>
                <c:pt idx="172">
                  <c:v>26</c:v>
                </c:pt>
                <c:pt idx="173">
                  <c:v>40</c:v>
                </c:pt>
                <c:pt idx="174">
                  <c:v>31</c:v>
                </c:pt>
                <c:pt idx="175">
                  <c:v>31</c:v>
                </c:pt>
                <c:pt idx="176">
                  <c:v>10</c:v>
                </c:pt>
                <c:pt idx="177">
                  <c:v>31</c:v>
                </c:pt>
                <c:pt idx="178">
                  <c:v>56</c:v>
                </c:pt>
                <c:pt idx="179">
                  <c:v>45</c:v>
                </c:pt>
                <c:pt idx="180">
                  <c:v>51</c:v>
                </c:pt>
                <c:pt idx="181">
                  <c:v>31</c:v>
                </c:pt>
                <c:pt idx="182">
                  <c:v>78</c:v>
                </c:pt>
                <c:pt idx="183">
                  <c:v>21</c:v>
                </c:pt>
                <c:pt idx="184">
                  <c:v>67</c:v>
                </c:pt>
                <c:pt idx="185">
                  <c:v>79</c:v>
                </c:pt>
                <c:pt idx="186">
                  <c:v>84</c:v>
                </c:pt>
                <c:pt idx="187">
                  <c:v>66</c:v>
                </c:pt>
                <c:pt idx="188">
                  <c:v>104</c:v>
                </c:pt>
                <c:pt idx="189">
                  <c:v>80</c:v>
                </c:pt>
                <c:pt idx="190">
                  <c:v>16</c:v>
                </c:pt>
                <c:pt idx="191">
                  <c:v>51</c:v>
                </c:pt>
                <c:pt idx="192">
                  <c:v>154</c:v>
                </c:pt>
                <c:pt idx="193">
                  <c:v>147</c:v>
                </c:pt>
                <c:pt idx="194">
                  <c:v>53</c:v>
                </c:pt>
                <c:pt idx="195">
                  <c:v>173</c:v>
                </c:pt>
                <c:pt idx="196">
                  <c:v>108</c:v>
                </c:pt>
                <c:pt idx="197">
                  <c:v>27</c:v>
                </c:pt>
                <c:pt idx="198">
                  <c:v>95</c:v>
                </c:pt>
                <c:pt idx="199">
                  <c:v>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4D-492F-9EB6-DD67D53037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117</c:v>
                </c:pt>
                <c:pt idx="196">
                  <c:v>117</c:v>
                </c:pt>
                <c:pt idx="197">
                  <c:v>120</c:v>
                </c:pt>
                <c:pt idx="198">
                  <c:v>125</c:v>
                </c:pt>
                <c:pt idx="199">
                  <c:v>129</c:v>
                </c:pt>
                <c:pt idx="200">
                  <c:v>131</c:v>
                </c:pt>
                <c:pt idx="201">
                  <c:v>132</c:v>
                </c:pt>
                <c:pt idx="202">
                  <c:v>133</c:v>
                </c:pt>
                <c:pt idx="203">
                  <c:v>136</c:v>
                </c:pt>
                <c:pt idx="204">
                  <c:v>140</c:v>
                </c:pt>
                <c:pt idx="205">
                  <c:v>143</c:v>
                </c:pt>
                <c:pt idx="206">
                  <c:v>145</c:v>
                </c:pt>
                <c:pt idx="207">
                  <c:v>147</c:v>
                </c:pt>
                <c:pt idx="208">
                  <c:v>149</c:v>
                </c:pt>
                <c:pt idx="209">
                  <c:v>152</c:v>
                </c:pt>
                <c:pt idx="210">
                  <c:v>155</c:v>
                </c:pt>
                <c:pt idx="211">
                  <c:v>158</c:v>
                </c:pt>
                <c:pt idx="212">
                  <c:v>161</c:v>
                </c:pt>
                <c:pt idx="213">
                  <c:v>164</c:v>
                </c:pt>
                <c:pt idx="214">
                  <c:v>167</c:v>
                </c:pt>
                <c:pt idx="215">
                  <c:v>170</c:v>
                </c:pt>
                <c:pt idx="216">
                  <c:v>173</c:v>
                </c:pt>
                <c:pt idx="217">
                  <c:v>176</c:v>
                </c:pt>
                <c:pt idx="218">
                  <c:v>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4D-492F-9EB6-DD67D53037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121</c:v>
                </c:pt>
                <c:pt idx="196">
                  <c:v>124</c:v>
                </c:pt>
                <c:pt idx="197">
                  <c:v>129</c:v>
                </c:pt>
                <c:pt idx="198">
                  <c:v>136</c:v>
                </c:pt>
                <c:pt idx="199">
                  <c:v>141</c:v>
                </c:pt>
                <c:pt idx="200">
                  <c:v>145</c:v>
                </c:pt>
                <c:pt idx="201">
                  <c:v>150</c:v>
                </c:pt>
                <c:pt idx="202">
                  <c:v>154</c:v>
                </c:pt>
                <c:pt idx="203">
                  <c:v>160</c:v>
                </c:pt>
                <c:pt idx="204">
                  <c:v>166</c:v>
                </c:pt>
                <c:pt idx="205">
                  <c:v>172</c:v>
                </c:pt>
                <c:pt idx="206">
                  <c:v>177</c:v>
                </c:pt>
                <c:pt idx="207">
                  <c:v>183</c:v>
                </c:pt>
                <c:pt idx="208">
                  <c:v>189</c:v>
                </c:pt>
                <c:pt idx="209">
                  <c:v>196</c:v>
                </c:pt>
                <c:pt idx="210">
                  <c:v>203</c:v>
                </c:pt>
                <c:pt idx="211">
                  <c:v>210</c:v>
                </c:pt>
                <c:pt idx="212">
                  <c:v>217</c:v>
                </c:pt>
                <c:pt idx="213">
                  <c:v>224</c:v>
                </c:pt>
                <c:pt idx="214">
                  <c:v>232</c:v>
                </c:pt>
                <c:pt idx="215">
                  <c:v>240</c:v>
                </c:pt>
                <c:pt idx="216">
                  <c:v>249</c:v>
                </c:pt>
                <c:pt idx="217">
                  <c:v>257</c:v>
                </c:pt>
                <c:pt idx="218">
                  <c:v>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E4D-492F-9EB6-DD67D53037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125</c:v>
                </c:pt>
                <c:pt idx="196">
                  <c:v>131</c:v>
                </c:pt>
                <c:pt idx="197">
                  <c:v>138</c:v>
                </c:pt>
                <c:pt idx="198">
                  <c:v>146</c:v>
                </c:pt>
                <c:pt idx="199">
                  <c:v>153</c:v>
                </c:pt>
                <c:pt idx="200">
                  <c:v>161</c:v>
                </c:pt>
                <c:pt idx="201">
                  <c:v>168</c:v>
                </c:pt>
                <c:pt idx="202">
                  <c:v>176</c:v>
                </c:pt>
                <c:pt idx="203">
                  <c:v>185</c:v>
                </c:pt>
                <c:pt idx="204">
                  <c:v>195</c:v>
                </c:pt>
                <c:pt idx="205">
                  <c:v>205</c:v>
                </c:pt>
                <c:pt idx="206">
                  <c:v>215</c:v>
                </c:pt>
                <c:pt idx="207">
                  <c:v>225</c:v>
                </c:pt>
                <c:pt idx="208">
                  <c:v>236</c:v>
                </c:pt>
                <c:pt idx="209">
                  <c:v>248</c:v>
                </c:pt>
                <c:pt idx="210">
                  <c:v>260</c:v>
                </c:pt>
                <c:pt idx="211">
                  <c:v>273</c:v>
                </c:pt>
                <c:pt idx="212">
                  <c:v>287</c:v>
                </c:pt>
                <c:pt idx="213">
                  <c:v>301</c:v>
                </c:pt>
                <c:pt idx="214">
                  <c:v>316</c:v>
                </c:pt>
                <c:pt idx="215">
                  <c:v>331</c:v>
                </c:pt>
                <c:pt idx="216">
                  <c:v>348</c:v>
                </c:pt>
                <c:pt idx="217">
                  <c:v>365</c:v>
                </c:pt>
                <c:pt idx="218">
                  <c:v>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4D-492F-9EB6-DD67D53037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129</c:v>
                </c:pt>
                <c:pt idx="196">
                  <c:v>138</c:v>
                </c:pt>
                <c:pt idx="197">
                  <c:v>147</c:v>
                </c:pt>
                <c:pt idx="198">
                  <c:v>156</c:v>
                </c:pt>
                <c:pt idx="199">
                  <c:v>166</c:v>
                </c:pt>
                <c:pt idx="200">
                  <c:v>177</c:v>
                </c:pt>
                <c:pt idx="201">
                  <c:v>188</c:v>
                </c:pt>
                <c:pt idx="202">
                  <c:v>200</c:v>
                </c:pt>
                <c:pt idx="203">
                  <c:v>213</c:v>
                </c:pt>
                <c:pt idx="204">
                  <c:v>226</c:v>
                </c:pt>
                <c:pt idx="205">
                  <c:v>241</c:v>
                </c:pt>
                <c:pt idx="206">
                  <c:v>256</c:v>
                </c:pt>
                <c:pt idx="207">
                  <c:v>273</c:v>
                </c:pt>
                <c:pt idx="208">
                  <c:v>290</c:v>
                </c:pt>
                <c:pt idx="209">
                  <c:v>309</c:v>
                </c:pt>
                <c:pt idx="210">
                  <c:v>328</c:v>
                </c:pt>
                <c:pt idx="211">
                  <c:v>349</c:v>
                </c:pt>
                <c:pt idx="212">
                  <c:v>372</c:v>
                </c:pt>
                <c:pt idx="213">
                  <c:v>395</c:v>
                </c:pt>
                <c:pt idx="214">
                  <c:v>420</c:v>
                </c:pt>
                <c:pt idx="215">
                  <c:v>447</c:v>
                </c:pt>
                <c:pt idx="216">
                  <c:v>476</c:v>
                </c:pt>
                <c:pt idx="217">
                  <c:v>506</c:v>
                </c:pt>
                <c:pt idx="218">
                  <c:v>5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C-4377-A703-66357AD7E0B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5.4549607754226743</c:v>
                </c:pt>
                <c:pt idx="1">
                  <c:v>5.4549607754226743</c:v>
                </c:pt>
                <c:pt idx="2">
                  <c:v>4.4321556300309233</c:v>
                </c:pt>
                <c:pt idx="3">
                  <c:v>2.7274803877113372</c:v>
                </c:pt>
                <c:pt idx="4">
                  <c:v>3.068415436175254</c:v>
                </c:pt>
                <c:pt idx="5">
                  <c:v>3.7502855331030882</c:v>
                </c:pt>
                <c:pt idx="6">
                  <c:v>5.114025726958757</c:v>
                </c:pt>
                <c:pt idx="7">
                  <c:v>4.4321556300309233</c:v>
                </c:pt>
                <c:pt idx="8">
                  <c:v>4.7730906784948397</c:v>
                </c:pt>
                <c:pt idx="9">
                  <c:v>6.1368308723505081</c:v>
                </c:pt>
                <c:pt idx="10">
                  <c:v>6.1368308723505081</c:v>
                </c:pt>
                <c:pt idx="11">
                  <c:v>5.7958958238865907</c:v>
                </c:pt>
                <c:pt idx="12">
                  <c:v>5.4549607754226743</c:v>
                </c:pt>
                <c:pt idx="13">
                  <c:v>4.091220581567006</c:v>
                </c:pt>
                <c:pt idx="14">
                  <c:v>5.114025726958757</c:v>
                </c:pt>
                <c:pt idx="15">
                  <c:v>3.7502855331030882</c:v>
                </c:pt>
                <c:pt idx="16">
                  <c:v>2.3865453392474199</c:v>
                </c:pt>
                <c:pt idx="17">
                  <c:v>2.045610290783503</c:v>
                </c:pt>
                <c:pt idx="18">
                  <c:v>2.045610290783503</c:v>
                </c:pt>
                <c:pt idx="19">
                  <c:v>1.7046752423195857</c:v>
                </c:pt>
                <c:pt idx="20">
                  <c:v>1.7046752423195857</c:v>
                </c:pt>
                <c:pt idx="21">
                  <c:v>0.68187009692783429</c:v>
                </c:pt>
                <c:pt idx="22">
                  <c:v>1.0228051453917515</c:v>
                </c:pt>
                <c:pt idx="23">
                  <c:v>1.0228051453917515</c:v>
                </c:pt>
                <c:pt idx="24">
                  <c:v>0.68187009692783429</c:v>
                </c:pt>
                <c:pt idx="25">
                  <c:v>1.3637401938556686</c:v>
                </c:pt>
                <c:pt idx="26">
                  <c:v>1.3637401938556686</c:v>
                </c:pt>
                <c:pt idx="27">
                  <c:v>2.045610290783503</c:v>
                </c:pt>
                <c:pt idx="28">
                  <c:v>2.7274803877113372</c:v>
                </c:pt>
                <c:pt idx="29">
                  <c:v>3.068415436175254</c:v>
                </c:pt>
                <c:pt idx="30">
                  <c:v>3.068415436175254</c:v>
                </c:pt>
                <c:pt idx="31">
                  <c:v>3.7502855331030882</c:v>
                </c:pt>
                <c:pt idx="32">
                  <c:v>4.091220581567006</c:v>
                </c:pt>
                <c:pt idx="33">
                  <c:v>4.091220581567006</c:v>
                </c:pt>
                <c:pt idx="34">
                  <c:v>3.4093504846391713</c:v>
                </c:pt>
                <c:pt idx="35">
                  <c:v>3.4093504846391713</c:v>
                </c:pt>
                <c:pt idx="36">
                  <c:v>3.4093504846391713</c:v>
                </c:pt>
                <c:pt idx="37">
                  <c:v>3.7502855331030882</c:v>
                </c:pt>
                <c:pt idx="38">
                  <c:v>3.7502855331030882</c:v>
                </c:pt>
                <c:pt idx="39">
                  <c:v>3.068415436175254</c:v>
                </c:pt>
                <c:pt idx="40">
                  <c:v>3.068415436175254</c:v>
                </c:pt>
                <c:pt idx="41">
                  <c:v>3.7502855331030882</c:v>
                </c:pt>
                <c:pt idx="42">
                  <c:v>3.7502855331030882</c:v>
                </c:pt>
                <c:pt idx="43">
                  <c:v>3.7502855331030882</c:v>
                </c:pt>
                <c:pt idx="44">
                  <c:v>4.091220581567006</c:v>
                </c:pt>
                <c:pt idx="45">
                  <c:v>4.091220581567006</c:v>
                </c:pt>
                <c:pt idx="46">
                  <c:v>6.1368308723505081</c:v>
                </c:pt>
                <c:pt idx="47">
                  <c:v>6.8187009692783427</c:v>
                </c:pt>
                <c:pt idx="48">
                  <c:v>6.4777659208144254</c:v>
                </c:pt>
                <c:pt idx="49">
                  <c:v>7.1596360177422591</c:v>
                </c:pt>
                <c:pt idx="50">
                  <c:v>10.228051453917514</c:v>
                </c:pt>
                <c:pt idx="51">
                  <c:v>10.909921550845349</c:v>
                </c:pt>
                <c:pt idx="52">
                  <c:v>10.568986502381431</c:v>
                </c:pt>
                <c:pt idx="53">
                  <c:v>9.2052463085257639</c:v>
                </c:pt>
                <c:pt idx="54">
                  <c:v>8.8643112600618466</c:v>
                </c:pt>
                <c:pt idx="55">
                  <c:v>9.2052463085257639</c:v>
                </c:pt>
                <c:pt idx="56">
                  <c:v>8.8643112600618466</c:v>
                </c:pt>
                <c:pt idx="57">
                  <c:v>5.114025726958757</c:v>
                </c:pt>
                <c:pt idx="58">
                  <c:v>4.7730906784948397</c:v>
                </c:pt>
                <c:pt idx="59">
                  <c:v>4.7730906784948397</c:v>
                </c:pt>
                <c:pt idx="60">
                  <c:v>4.4321556300309233</c:v>
                </c:pt>
                <c:pt idx="61">
                  <c:v>4.091220581567006</c:v>
                </c:pt>
                <c:pt idx="62">
                  <c:v>3.068415436175254</c:v>
                </c:pt>
                <c:pt idx="63">
                  <c:v>3.068415436175254</c:v>
                </c:pt>
                <c:pt idx="64">
                  <c:v>3.4093504846391713</c:v>
                </c:pt>
                <c:pt idx="65">
                  <c:v>3.4093504846391713</c:v>
                </c:pt>
                <c:pt idx="66">
                  <c:v>3.7502855331030882</c:v>
                </c:pt>
                <c:pt idx="67">
                  <c:v>3.7502855331030882</c:v>
                </c:pt>
                <c:pt idx="68">
                  <c:v>3.7502855331030882</c:v>
                </c:pt>
                <c:pt idx="69">
                  <c:v>4.091220581567006</c:v>
                </c:pt>
                <c:pt idx="70">
                  <c:v>6.4777659208144254</c:v>
                </c:pt>
                <c:pt idx="71">
                  <c:v>9.2052463085257639</c:v>
                </c:pt>
                <c:pt idx="72">
                  <c:v>9.8871164054535967</c:v>
                </c:pt>
                <c:pt idx="73">
                  <c:v>11.250856599309266</c:v>
                </c:pt>
                <c:pt idx="74">
                  <c:v>11.932726696237099</c:v>
                </c:pt>
                <c:pt idx="75">
                  <c:v>11.932726696237099</c:v>
                </c:pt>
                <c:pt idx="76">
                  <c:v>11.932726696237099</c:v>
                </c:pt>
                <c:pt idx="77">
                  <c:v>12.273661744701016</c:v>
                </c:pt>
                <c:pt idx="78">
                  <c:v>11.250856599309266</c:v>
                </c:pt>
                <c:pt idx="79">
                  <c:v>10.228051453917514</c:v>
                </c:pt>
                <c:pt idx="80">
                  <c:v>10.568986502381431</c:v>
                </c:pt>
                <c:pt idx="81">
                  <c:v>10.909921550845349</c:v>
                </c:pt>
                <c:pt idx="82">
                  <c:v>10.909921550845349</c:v>
                </c:pt>
                <c:pt idx="83">
                  <c:v>12.955531841628851</c:v>
                </c:pt>
                <c:pt idx="84">
                  <c:v>12.614596793164933</c:v>
                </c:pt>
                <c:pt idx="85">
                  <c:v>11.932726696237099</c:v>
                </c:pt>
                <c:pt idx="86">
                  <c:v>11.932726696237099</c:v>
                </c:pt>
                <c:pt idx="87">
                  <c:v>11.932726696237099</c:v>
                </c:pt>
                <c:pt idx="88">
                  <c:v>11.250856599309266</c:v>
                </c:pt>
                <c:pt idx="89">
                  <c:v>12.273661744701016</c:v>
                </c:pt>
                <c:pt idx="90">
                  <c:v>14.660207083948436</c:v>
                </c:pt>
                <c:pt idx="91">
                  <c:v>16.705817374731939</c:v>
                </c:pt>
                <c:pt idx="92">
                  <c:v>20.115167859371113</c:v>
                </c:pt>
                <c:pt idx="93">
                  <c:v>27.274803877113371</c:v>
                </c:pt>
                <c:pt idx="94">
                  <c:v>28.979479119432956</c:v>
                </c:pt>
                <c:pt idx="95">
                  <c:v>32.388829604072129</c:v>
                </c:pt>
                <c:pt idx="96">
                  <c:v>32.388829604072129</c:v>
                </c:pt>
                <c:pt idx="97">
                  <c:v>33.411634749463879</c:v>
                </c:pt>
                <c:pt idx="98">
                  <c:v>38.866595524886556</c:v>
                </c:pt>
                <c:pt idx="99">
                  <c:v>42.275946009525725</c:v>
                </c:pt>
                <c:pt idx="100">
                  <c:v>42.616881057989644</c:v>
                </c:pt>
                <c:pt idx="101">
                  <c:v>45.003426397237064</c:v>
                </c:pt>
                <c:pt idx="102">
                  <c:v>47.730906784948395</c:v>
                </c:pt>
                <c:pt idx="103">
                  <c:v>48.412776881876233</c:v>
                </c:pt>
                <c:pt idx="104">
                  <c:v>47.389971736484483</c:v>
                </c:pt>
                <c:pt idx="105">
                  <c:v>40.230335718742225</c:v>
                </c:pt>
                <c:pt idx="106">
                  <c:v>41.594075912597894</c:v>
                </c:pt>
                <c:pt idx="107">
                  <c:v>39.548465621814387</c:v>
                </c:pt>
                <c:pt idx="108">
                  <c:v>36.139115137175217</c:v>
                </c:pt>
                <c:pt idx="109">
                  <c:v>31.366024458680378</c:v>
                </c:pt>
                <c:pt idx="110">
                  <c:v>31.706959507144294</c:v>
                </c:pt>
                <c:pt idx="111">
                  <c:v>28.979479119432956</c:v>
                </c:pt>
                <c:pt idx="112">
                  <c:v>31.025089410216456</c:v>
                </c:pt>
                <c:pt idx="113">
                  <c:v>26.592933780185536</c:v>
                </c:pt>
                <c:pt idx="114">
                  <c:v>23.524518344010282</c:v>
                </c:pt>
                <c:pt idx="115">
                  <c:v>22.160778150154613</c:v>
                </c:pt>
                <c:pt idx="116">
                  <c:v>23.524518344010282</c:v>
                </c:pt>
                <c:pt idx="117">
                  <c:v>21.478908053226778</c:v>
                </c:pt>
                <c:pt idx="118">
                  <c:v>21.478908053226778</c:v>
                </c:pt>
                <c:pt idx="119">
                  <c:v>19.433297762443278</c:v>
                </c:pt>
                <c:pt idx="120">
                  <c:v>15.683012229340189</c:v>
                </c:pt>
                <c:pt idx="121">
                  <c:v>14.660207083948436</c:v>
                </c:pt>
                <c:pt idx="122">
                  <c:v>13.978336987020604</c:v>
                </c:pt>
                <c:pt idx="123">
                  <c:v>11.250856599309266</c:v>
                </c:pt>
                <c:pt idx="124">
                  <c:v>12.273661744701016</c:v>
                </c:pt>
                <c:pt idx="125">
                  <c:v>12.955531841628851</c:v>
                </c:pt>
                <c:pt idx="126">
                  <c:v>12.614596793164933</c:v>
                </c:pt>
                <c:pt idx="127">
                  <c:v>14.660207083948436</c:v>
                </c:pt>
                <c:pt idx="128">
                  <c:v>16.364882326268024</c:v>
                </c:pt>
                <c:pt idx="129">
                  <c:v>20.797037956298947</c:v>
                </c:pt>
                <c:pt idx="130">
                  <c:v>24.206388440938117</c:v>
                </c:pt>
                <c:pt idx="131">
                  <c:v>23.183583295546363</c:v>
                </c:pt>
                <c:pt idx="132">
                  <c:v>25.911063683257701</c:v>
                </c:pt>
                <c:pt idx="133">
                  <c:v>30.684154361752544</c:v>
                </c:pt>
                <c:pt idx="134">
                  <c:v>30.343219313288628</c:v>
                </c:pt>
                <c:pt idx="135">
                  <c:v>35.798180088711298</c:v>
                </c:pt>
                <c:pt idx="136">
                  <c:v>37.161920282566967</c:v>
                </c:pt>
                <c:pt idx="137">
                  <c:v>40.912205815670056</c:v>
                </c:pt>
                <c:pt idx="138">
                  <c:v>43.298751154917476</c:v>
                </c:pt>
                <c:pt idx="139">
                  <c:v>46.367166591092726</c:v>
                </c:pt>
                <c:pt idx="140">
                  <c:v>50.458387172659734</c:v>
                </c:pt>
                <c:pt idx="141">
                  <c:v>56.25428299654633</c:v>
                </c:pt>
                <c:pt idx="142">
                  <c:v>60.686438626577257</c:v>
                </c:pt>
                <c:pt idx="143">
                  <c:v>64.436724159680338</c:v>
                </c:pt>
                <c:pt idx="144">
                  <c:v>66.823269498927758</c:v>
                </c:pt>
                <c:pt idx="145">
                  <c:v>67.846074644319515</c:v>
                </c:pt>
                <c:pt idx="146">
                  <c:v>69.891684935103015</c:v>
                </c:pt>
                <c:pt idx="147">
                  <c:v>76.710385904381354</c:v>
                </c:pt>
                <c:pt idx="148">
                  <c:v>83.188151825195789</c:v>
                </c:pt>
                <c:pt idx="149">
                  <c:v>86.93843735829887</c:v>
                </c:pt>
                <c:pt idx="150">
                  <c:v>86.93843735829887</c:v>
                </c:pt>
                <c:pt idx="151">
                  <c:v>102.96238463610298</c:v>
                </c:pt>
                <c:pt idx="152">
                  <c:v>106.71267016920606</c:v>
                </c:pt>
                <c:pt idx="153">
                  <c:v>118.98633191390708</c:v>
                </c:pt>
                <c:pt idx="154">
                  <c:v>126.82783802857718</c:v>
                </c:pt>
                <c:pt idx="155">
                  <c:v>140.12430491866994</c:v>
                </c:pt>
                <c:pt idx="156">
                  <c:v>145.23833064562871</c:v>
                </c:pt>
                <c:pt idx="157">
                  <c:v>170.12658918349467</c:v>
                </c:pt>
                <c:pt idx="158">
                  <c:v>170.80845928042248</c:v>
                </c:pt>
                <c:pt idx="159">
                  <c:v>169.1037840381029</c:v>
                </c:pt>
                <c:pt idx="160">
                  <c:v>163.64882326268022</c:v>
                </c:pt>
                <c:pt idx="161">
                  <c:v>189.21895189747403</c:v>
                </c:pt>
                <c:pt idx="162">
                  <c:v>210.6978599507008</c:v>
                </c:pt>
                <c:pt idx="163">
                  <c:v>206.26570432066984</c:v>
                </c:pt>
                <c:pt idx="164">
                  <c:v>229.79022266468016</c:v>
                </c:pt>
                <c:pt idx="165">
                  <c:v>239.33640402166984</c:v>
                </c:pt>
                <c:pt idx="166">
                  <c:v>243.0866895547729</c:v>
                </c:pt>
                <c:pt idx="167">
                  <c:v>258.08783168718526</c:v>
                </c:pt>
                <c:pt idx="168">
                  <c:v>286.38544070969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EC-4377-A703-66357AD7E0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209.67505480530903</c:v>
                </c:pt>
                <c:pt idx="165" formatCode="0">
                  <c:v>216.49375577458738</c:v>
                </c:pt>
                <c:pt idx="166" formatCode="0">
                  <c:v>222.28965159847397</c:v>
                </c:pt>
                <c:pt idx="167" formatCode="0">
                  <c:v>228.42648247082445</c:v>
                </c:pt>
                <c:pt idx="168" formatCode="0">
                  <c:v>233.19957314931932</c:v>
                </c:pt>
                <c:pt idx="169" formatCode="0">
                  <c:v>236.94985868242242</c:v>
                </c:pt>
                <c:pt idx="170" formatCode="0">
                  <c:v>238.99546897320593</c:v>
                </c:pt>
                <c:pt idx="171" formatCode="0">
                  <c:v>242.40481945784509</c:v>
                </c:pt>
                <c:pt idx="172" formatCode="0">
                  <c:v>247.51884518480384</c:v>
                </c:pt>
                <c:pt idx="173" formatCode="0">
                  <c:v>252.97380596022651</c:v>
                </c:pt>
                <c:pt idx="174" formatCode="0">
                  <c:v>257.40596159025745</c:v>
                </c:pt>
                <c:pt idx="175" formatCode="0">
                  <c:v>261.83811722028838</c:v>
                </c:pt>
                <c:pt idx="176" formatCode="0">
                  <c:v>266.27027285031932</c:v>
                </c:pt>
                <c:pt idx="177" formatCode="0">
                  <c:v>271.0433635288141</c:v>
                </c:pt>
                <c:pt idx="178" formatCode="0">
                  <c:v>276.4983243042368</c:v>
                </c:pt>
                <c:pt idx="179" formatCode="0">
                  <c:v>281.61235003119555</c:v>
                </c:pt>
                <c:pt idx="180" formatCode="0">
                  <c:v>286.72637575815429</c:v>
                </c:pt>
                <c:pt idx="181" formatCode="0">
                  <c:v>291.84040148511303</c:v>
                </c:pt>
                <c:pt idx="182" formatCode="0">
                  <c:v>296.95442721207183</c:v>
                </c:pt>
                <c:pt idx="183" formatCode="0">
                  <c:v>302.06845293903058</c:v>
                </c:pt>
                <c:pt idx="184" formatCode="0">
                  <c:v>307.52341371445328</c:v>
                </c:pt>
                <c:pt idx="185" formatCode="0">
                  <c:v>313.31930953833984</c:v>
                </c:pt>
                <c:pt idx="186" formatCode="0">
                  <c:v>319.11520536222645</c:v>
                </c:pt>
                <c:pt idx="187" formatCode="0">
                  <c:v>324.9111011861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EC-4377-A703-66357AD7E0B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211.03879499916471</c:v>
                </c:pt>
                <c:pt idx="165" formatCode="0">
                  <c:v>219.56217121076264</c:v>
                </c:pt>
                <c:pt idx="166" formatCode="0">
                  <c:v>227.74461237389664</c:v>
                </c:pt>
                <c:pt idx="167" formatCode="0">
                  <c:v>236.60892363395851</c:v>
                </c:pt>
                <c:pt idx="168" formatCode="0">
                  <c:v>244.79136479709251</c:v>
                </c:pt>
                <c:pt idx="169" formatCode="0">
                  <c:v>252.29193586329868</c:v>
                </c:pt>
                <c:pt idx="170" formatCode="0">
                  <c:v>259.11063683257703</c:v>
                </c:pt>
                <c:pt idx="171" formatCode="0">
                  <c:v>266.95214294724713</c:v>
                </c:pt>
                <c:pt idx="172" formatCode="0">
                  <c:v>276.83925935270071</c:v>
                </c:pt>
                <c:pt idx="173" formatCode="0">
                  <c:v>287.0673108066182</c:v>
                </c:pt>
                <c:pt idx="174" formatCode="0">
                  <c:v>296.95442721207183</c:v>
                </c:pt>
                <c:pt idx="175" formatCode="0">
                  <c:v>306.84154361752542</c:v>
                </c:pt>
                <c:pt idx="176" formatCode="0">
                  <c:v>317.41053011990687</c:v>
                </c:pt>
                <c:pt idx="177" formatCode="0">
                  <c:v>328.32045167075216</c:v>
                </c:pt>
                <c:pt idx="178" formatCode="0">
                  <c:v>339.91224331852538</c:v>
                </c:pt>
                <c:pt idx="179" formatCode="0">
                  <c:v>351.84497001476251</c:v>
                </c:pt>
                <c:pt idx="180" formatCode="0">
                  <c:v>363.77769671099958</c:v>
                </c:pt>
                <c:pt idx="181" formatCode="0">
                  <c:v>376.05135845570061</c:v>
                </c:pt>
                <c:pt idx="182" formatCode="0">
                  <c:v>389.00689029732945</c:v>
                </c:pt>
                <c:pt idx="183" formatCode="0">
                  <c:v>402.30335718742219</c:v>
                </c:pt>
                <c:pt idx="184" formatCode="0">
                  <c:v>415.9407591259789</c:v>
                </c:pt>
                <c:pt idx="185" formatCode="0">
                  <c:v>430.26003116146342</c:v>
                </c:pt>
                <c:pt idx="186" formatCode="0">
                  <c:v>444.92023824541189</c:v>
                </c:pt>
                <c:pt idx="187" formatCode="0">
                  <c:v>460.26231542628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EC-4377-A703-66357AD7E0B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212.06160014455648</c:v>
                </c:pt>
                <c:pt idx="165" formatCode="0">
                  <c:v>222.6305866469379</c:v>
                </c:pt>
                <c:pt idx="166" formatCode="0">
                  <c:v>233.19957314931932</c:v>
                </c:pt>
                <c:pt idx="167" formatCode="0">
                  <c:v>244.79136479709251</c:v>
                </c:pt>
                <c:pt idx="168" formatCode="0">
                  <c:v>256.38315644486568</c:v>
                </c:pt>
                <c:pt idx="169" formatCode="0">
                  <c:v>268.3158831411028</c:v>
                </c:pt>
                <c:pt idx="170" formatCode="0">
                  <c:v>280.24860983733987</c:v>
                </c:pt>
                <c:pt idx="171" formatCode="0">
                  <c:v>293.20414167896871</c:v>
                </c:pt>
                <c:pt idx="172" formatCode="0">
                  <c:v>307.86434876291719</c:v>
                </c:pt>
                <c:pt idx="173" formatCode="0">
                  <c:v>323.54736099225738</c:v>
                </c:pt>
                <c:pt idx="174" formatCode="0">
                  <c:v>339.57130827006148</c:v>
                </c:pt>
                <c:pt idx="175" formatCode="0">
                  <c:v>356.27712564479344</c:v>
                </c:pt>
                <c:pt idx="176" formatCode="0">
                  <c:v>373.66481311645322</c:v>
                </c:pt>
                <c:pt idx="177" formatCode="0">
                  <c:v>392.07530573350471</c:v>
                </c:pt>
                <c:pt idx="178" formatCode="0">
                  <c:v>411.84953854441193</c:v>
                </c:pt>
                <c:pt idx="179" formatCode="0">
                  <c:v>432.64657650071086</c:v>
                </c:pt>
                <c:pt idx="180" formatCode="0">
                  <c:v>454.12548455393761</c:v>
                </c:pt>
                <c:pt idx="181" formatCode="0">
                  <c:v>476.62719775255613</c:v>
                </c:pt>
                <c:pt idx="182" formatCode="0">
                  <c:v>500.15171609656642</c:v>
                </c:pt>
                <c:pt idx="183" formatCode="0">
                  <c:v>525.03997463443238</c:v>
                </c:pt>
                <c:pt idx="184" formatCode="0">
                  <c:v>550.95103831769018</c:v>
                </c:pt>
                <c:pt idx="185" formatCode="0">
                  <c:v>578.22584219480348</c:v>
                </c:pt>
                <c:pt idx="186" formatCode="0">
                  <c:v>606.52345121730866</c:v>
                </c:pt>
                <c:pt idx="187" formatCode="0">
                  <c:v>636.5257354821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7EC-4377-A703-66357AD7E0B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213.42534033841213</c:v>
                </c:pt>
                <c:pt idx="165" formatCode="0">
                  <c:v>225.69900208311316</c:v>
                </c:pt>
                <c:pt idx="166" formatCode="0">
                  <c:v>238.654533924742</c:v>
                </c:pt>
                <c:pt idx="167" formatCode="0">
                  <c:v>252.97380596022651</c:v>
                </c:pt>
                <c:pt idx="168" formatCode="0">
                  <c:v>267.9749480926389</c:v>
                </c:pt>
                <c:pt idx="169" formatCode="0">
                  <c:v>283.99889537044294</c:v>
                </c:pt>
                <c:pt idx="170" formatCode="0">
                  <c:v>301.38658284210277</c:v>
                </c:pt>
                <c:pt idx="171" formatCode="0">
                  <c:v>319.45614041069035</c:v>
                </c:pt>
                <c:pt idx="172" formatCode="0">
                  <c:v>339.91224331852538</c:v>
                </c:pt>
                <c:pt idx="173" formatCode="0">
                  <c:v>361.73208642021609</c:v>
                </c:pt>
                <c:pt idx="174" formatCode="0">
                  <c:v>384.91566971576242</c:v>
                </c:pt>
                <c:pt idx="175" formatCode="0">
                  <c:v>409.46299320516448</c:v>
                </c:pt>
                <c:pt idx="176" formatCode="0">
                  <c:v>435.71499193688607</c:v>
                </c:pt>
                <c:pt idx="177" formatCode="0">
                  <c:v>463.33073086246344</c:v>
                </c:pt>
                <c:pt idx="178" formatCode="0">
                  <c:v>492.99208007882419</c:v>
                </c:pt>
                <c:pt idx="179" formatCode="0">
                  <c:v>524.69903958596842</c:v>
                </c:pt>
                <c:pt idx="180" formatCode="0">
                  <c:v>558.45160938389631</c:v>
                </c:pt>
                <c:pt idx="181" formatCode="0">
                  <c:v>594.24978947260763</c:v>
                </c:pt>
                <c:pt idx="182" formatCode="0">
                  <c:v>632.43451490056634</c:v>
                </c:pt>
                <c:pt idx="183" formatCode="0">
                  <c:v>673.00578566777244</c:v>
                </c:pt>
                <c:pt idx="184" formatCode="0">
                  <c:v>715.96360177422594</c:v>
                </c:pt>
                <c:pt idx="185" formatCode="0">
                  <c:v>761.64889826839089</c:v>
                </c:pt>
                <c:pt idx="186" formatCode="0">
                  <c:v>810.06167515026709</c:v>
                </c:pt>
                <c:pt idx="187" formatCode="0">
                  <c:v>861.5428674683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23</c:v>
                </c:pt>
                <c:pt idx="1">
                  <c:v>47</c:v>
                </c:pt>
                <c:pt idx="2">
                  <c:v>232</c:v>
                </c:pt>
                <c:pt idx="3">
                  <c:v>250</c:v>
                </c:pt>
                <c:pt idx="4">
                  <c:v>165</c:v>
                </c:pt>
                <c:pt idx="5">
                  <c:v>153</c:v>
                </c:pt>
                <c:pt idx="6">
                  <c:v>123</c:v>
                </c:pt>
                <c:pt idx="7">
                  <c:v>76</c:v>
                </c:pt>
                <c:pt idx="8">
                  <c:v>20</c:v>
                </c:pt>
                <c:pt idx="9">
                  <c:v>149</c:v>
                </c:pt>
                <c:pt idx="10">
                  <c:v>106</c:v>
                </c:pt>
                <c:pt idx="11">
                  <c:v>120</c:v>
                </c:pt>
                <c:pt idx="12">
                  <c:v>87</c:v>
                </c:pt>
                <c:pt idx="13">
                  <c:v>107</c:v>
                </c:pt>
                <c:pt idx="14">
                  <c:v>43</c:v>
                </c:pt>
                <c:pt idx="15">
                  <c:v>21</c:v>
                </c:pt>
                <c:pt idx="16">
                  <c:v>102</c:v>
                </c:pt>
                <c:pt idx="17">
                  <c:v>80</c:v>
                </c:pt>
                <c:pt idx="18">
                  <c:v>57</c:v>
                </c:pt>
                <c:pt idx="19">
                  <c:v>46</c:v>
                </c:pt>
                <c:pt idx="20">
                  <c:v>41</c:v>
                </c:pt>
                <c:pt idx="21">
                  <c:v>14</c:v>
                </c:pt>
                <c:pt idx="22">
                  <c:v>20</c:v>
                </c:pt>
                <c:pt idx="23">
                  <c:v>66</c:v>
                </c:pt>
                <c:pt idx="24">
                  <c:v>52</c:v>
                </c:pt>
                <c:pt idx="25">
                  <c:v>41</c:v>
                </c:pt>
                <c:pt idx="26">
                  <c:v>36</c:v>
                </c:pt>
                <c:pt idx="27">
                  <c:v>44</c:v>
                </c:pt>
                <c:pt idx="28">
                  <c:v>16</c:v>
                </c:pt>
                <c:pt idx="29">
                  <c:v>2</c:v>
                </c:pt>
                <c:pt idx="30">
                  <c:v>46</c:v>
                </c:pt>
                <c:pt idx="31">
                  <c:v>35</c:v>
                </c:pt>
                <c:pt idx="32">
                  <c:v>19</c:v>
                </c:pt>
                <c:pt idx="33">
                  <c:v>18</c:v>
                </c:pt>
                <c:pt idx="34">
                  <c:v>16</c:v>
                </c:pt>
                <c:pt idx="35">
                  <c:v>21</c:v>
                </c:pt>
                <c:pt idx="36">
                  <c:v>1</c:v>
                </c:pt>
                <c:pt idx="37">
                  <c:v>20</c:v>
                </c:pt>
                <c:pt idx="38">
                  <c:v>25</c:v>
                </c:pt>
                <c:pt idx="39">
                  <c:v>13</c:v>
                </c:pt>
                <c:pt idx="40">
                  <c:v>14</c:v>
                </c:pt>
                <c:pt idx="41">
                  <c:v>8</c:v>
                </c:pt>
                <c:pt idx="42">
                  <c:v>0</c:v>
                </c:pt>
                <c:pt idx="43">
                  <c:v>1</c:v>
                </c:pt>
                <c:pt idx="44">
                  <c:v>12</c:v>
                </c:pt>
                <c:pt idx="45">
                  <c:v>8</c:v>
                </c:pt>
                <c:pt idx="46">
                  <c:v>7</c:v>
                </c:pt>
                <c:pt idx="47">
                  <c:v>5</c:v>
                </c:pt>
                <c:pt idx="48">
                  <c:v>8</c:v>
                </c:pt>
                <c:pt idx="49">
                  <c:v>3</c:v>
                </c:pt>
                <c:pt idx="50">
                  <c:v>0</c:v>
                </c:pt>
                <c:pt idx="51">
                  <c:v>0</c:v>
                </c:pt>
                <c:pt idx="52">
                  <c:v>9</c:v>
                </c:pt>
                <c:pt idx="53">
                  <c:v>2</c:v>
                </c:pt>
                <c:pt idx="54">
                  <c:v>3</c:v>
                </c:pt>
                <c:pt idx="55">
                  <c:v>7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3</c:v>
                </c:pt>
                <c:pt idx="62">
                  <c:v>9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9</c:v>
                </c:pt>
                <c:pt idx="68">
                  <c:v>11</c:v>
                </c:pt>
                <c:pt idx="69">
                  <c:v>10</c:v>
                </c:pt>
                <c:pt idx="70">
                  <c:v>2</c:v>
                </c:pt>
                <c:pt idx="71">
                  <c:v>1</c:v>
                </c:pt>
                <c:pt idx="72">
                  <c:v>8</c:v>
                </c:pt>
                <c:pt idx="73">
                  <c:v>19</c:v>
                </c:pt>
                <c:pt idx="74">
                  <c:v>11</c:v>
                </c:pt>
                <c:pt idx="75">
                  <c:v>3</c:v>
                </c:pt>
                <c:pt idx="76">
                  <c:v>9</c:v>
                </c:pt>
                <c:pt idx="77">
                  <c:v>2</c:v>
                </c:pt>
                <c:pt idx="78">
                  <c:v>9</c:v>
                </c:pt>
                <c:pt idx="79">
                  <c:v>4</c:v>
                </c:pt>
                <c:pt idx="80">
                  <c:v>11</c:v>
                </c:pt>
                <c:pt idx="81">
                  <c:v>8</c:v>
                </c:pt>
                <c:pt idx="82">
                  <c:v>8</c:v>
                </c:pt>
                <c:pt idx="83">
                  <c:v>9</c:v>
                </c:pt>
                <c:pt idx="84">
                  <c:v>5</c:v>
                </c:pt>
                <c:pt idx="85">
                  <c:v>1</c:v>
                </c:pt>
                <c:pt idx="86">
                  <c:v>15</c:v>
                </c:pt>
                <c:pt idx="87">
                  <c:v>12</c:v>
                </c:pt>
                <c:pt idx="88">
                  <c:v>11</c:v>
                </c:pt>
                <c:pt idx="89">
                  <c:v>6</c:v>
                </c:pt>
                <c:pt idx="90">
                  <c:v>8</c:v>
                </c:pt>
                <c:pt idx="91">
                  <c:v>3</c:v>
                </c:pt>
                <c:pt idx="92">
                  <c:v>1</c:v>
                </c:pt>
                <c:pt idx="93">
                  <c:v>5</c:v>
                </c:pt>
                <c:pt idx="94">
                  <c:v>9</c:v>
                </c:pt>
                <c:pt idx="95">
                  <c:v>9</c:v>
                </c:pt>
                <c:pt idx="96">
                  <c:v>2</c:v>
                </c:pt>
                <c:pt idx="97">
                  <c:v>6</c:v>
                </c:pt>
                <c:pt idx="98">
                  <c:v>6</c:v>
                </c:pt>
                <c:pt idx="99">
                  <c:v>7</c:v>
                </c:pt>
                <c:pt idx="100">
                  <c:v>10</c:v>
                </c:pt>
                <c:pt idx="101">
                  <c:v>12</c:v>
                </c:pt>
                <c:pt idx="102">
                  <c:v>4</c:v>
                </c:pt>
                <c:pt idx="103">
                  <c:v>6</c:v>
                </c:pt>
                <c:pt idx="104">
                  <c:v>12</c:v>
                </c:pt>
                <c:pt idx="105">
                  <c:v>10</c:v>
                </c:pt>
                <c:pt idx="106">
                  <c:v>1</c:v>
                </c:pt>
                <c:pt idx="107">
                  <c:v>7</c:v>
                </c:pt>
                <c:pt idx="108">
                  <c:v>16</c:v>
                </c:pt>
                <c:pt idx="109">
                  <c:v>6</c:v>
                </c:pt>
                <c:pt idx="110">
                  <c:v>7</c:v>
                </c:pt>
                <c:pt idx="111">
                  <c:v>7</c:v>
                </c:pt>
                <c:pt idx="112">
                  <c:v>12</c:v>
                </c:pt>
                <c:pt idx="113">
                  <c:v>9</c:v>
                </c:pt>
                <c:pt idx="114">
                  <c:v>9</c:v>
                </c:pt>
                <c:pt idx="115">
                  <c:v>4</c:v>
                </c:pt>
                <c:pt idx="116">
                  <c:v>15</c:v>
                </c:pt>
                <c:pt idx="117">
                  <c:v>5</c:v>
                </c:pt>
                <c:pt idx="118">
                  <c:v>12</c:v>
                </c:pt>
                <c:pt idx="119">
                  <c:v>6</c:v>
                </c:pt>
                <c:pt idx="120">
                  <c:v>4</c:v>
                </c:pt>
                <c:pt idx="121">
                  <c:v>20</c:v>
                </c:pt>
                <c:pt idx="122">
                  <c:v>13</c:v>
                </c:pt>
                <c:pt idx="123">
                  <c:v>19</c:v>
                </c:pt>
                <c:pt idx="124">
                  <c:v>13</c:v>
                </c:pt>
                <c:pt idx="125">
                  <c:v>18</c:v>
                </c:pt>
                <c:pt idx="126">
                  <c:v>23</c:v>
                </c:pt>
                <c:pt idx="127">
                  <c:v>7</c:v>
                </c:pt>
                <c:pt idx="128">
                  <c:v>35</c:v>
                </c:pt>
                <c:pt idx="129">
                  <c:v>28</c:v>
                </c:pt>
                <c:pt idx="130">
                  <c:v>20</c:v>
                </c:pt>
                <c:pt idx="131">
                  <c:v>21</c:v>
                </c:pt>
                <c:pt idx="132">
                  <c:v>23</c:v>
                </c:pt>
                <c:pt idx="133">
                  <c:v>8</c:v>
                </c:pt>
                <c:pt idx="134">
                  <c:v>9</c:v>
                </c:pt>
                <c:pt idx="135">
                  <c:v>19</c:v>
                </c:pt>
                <c:pt idx="136">
                  <c:v>27</c:v>
                </c:pt>
                <c:pt idx="137">
                  <c:v>29</c:v>
                </c:pt>
                <c:pt idx="138">
                  <c:v>27</c:v>
                </c:pt>
                <c:pt idx="139">
                  <c:v>26</c:v>
                </c:pt>
                <c:pt idx="140">
                  <c:v>16</c:v>
                </c:pt>
                <c:pt idx="141">
                  <c:v>14</c:v>
                </c:pt>
                <c:pt idx="142">
                  <c:v>24</c:v>
                </c:pt>
                <c:pt idx="143">
                  <c:v>28</c:v>
                </c:pt>
                <c:pt idx="144">
                  <c:v>17</c:v>
                </c:pt>
                <c:pt idx="145">
                  <c:v>22</c:v>
                </c:pt>
                <c:pt idx="146">
                  <c:v>25</c:v>
                </c:pt>
                <c:pt idx="147">
                  <c:v>24</c:v>
                </c:pt>
                <c:pt idx="148">
                  <c:v>10</c:v>
                </c:pt>
                <c:pt idx="149">
                  <c:v>37</c:v>
                </c:pt>
                <c:pt idx="150">
                  <c:v>37</c:v>
                </c:pt>
                <c:pt idx="151">
                  <c:v>49</c:v>
                </c:pt>
                <c:pt idx="152">
                  <c:v>58</c:v>
                </c:pt>
                <c:pt idx="153">
                  <c:v>43</c:v>
                </c:pt>
                <c:pt idx="154">
                  <c:v>36</c:v>
                </c:pt>
                <c:pt idx="155">
                  <c:v>16</c:v>
                </c:pt>
                <c:pt idx="156">
                  <c:v>41</c:v>
                </c:pt>
                <c:pt idx="157">
                  <c:v>43</c:v>
                </c:pt>
                <c:pt idx="158">
                  <c:v>51</c:v>
                </c:pt>
                <c:pt idx="159">
                  <c:v>38</c:v>
                </c:pt>
                <c:pt idx="160">
                  <c:v>40</c:v>
                </c:pt>
                <c:pt idx="161">
                  <c:v>29</c:v>
                </c:pt>
                <c:pt idx="162">
                  <c:v>25</c:v>
                </c:pt>
                <c:pt idx="163">
                  <c:v>71</c:v>
                </c:pt>
                <c:pt idx="164">
                  <c:v>58</c:v>
                </c:pt>
                <c:pt idx="165">
                  <c:v>52</c:v>
                </c:pt>
                <c:pt idx="166">
                  <c:v>64</c:v>
                </c:pt>
                <c:pt idx="167">
                  <c:v>64</c:v>
                </c:pt>
                <c:pt idx="168">
                  <c:v>43</c:v>
                </c:pt>
                <c:pt idx="169">
                  <c:v>25</c:v>
                </c:pt>
                <c:pt idx="170">
                  <c:v>95</c:v>
                </c:pt>
                <c:pt idx="171">
                  <c:v>130</c:v>
                </c:pt>
                <c:pt idx="172">
                  <c:v>118</c:v>
                </c:pt>
                <c:pt idx="173">
                  <c:v>114</c:v>
                </c:pt>
                <c:pt idx="174">
                  <c:v>122</c:v>
                </c:pt>
                <c:pt idx="175">
                  <c:v>127</c:v>
                </c:pt>
                <c:pt idx="176">
                  <c:v>76</c:v>
                </c:pt>
                <c:pt idx="177">
                  <c:v>166</c:v>
                </c:pt>
                <c:pt idx="178">
                  <c:v>226</c:v>
                </c:pt>
                <c:pt idx="179">
                  <c:v>207</c:v>
                </c:pt>
                <c:pt idx="180">
                  <c:v>210</c:v>
                </c:pt>
                <c:pt idx="181">
                  <c:v>172</c:v>
                </c:pt>
                <c:pt idx="182">
                  <c:v>286</c:v>
                </c:pt>
                <c:pt idx="183">
                  <c:v>125</c:v>
                </c:pt>
                <c:pt idx="184">
                  <c:v>232</c:v>
                </c:pt>
                <c:pt idx="185">
                  <c:v>383</c:v>
                </c:pt>
                <c:pt idx="186">
                  <c:v>340</c:v>
                </c:pt>
                <c:pt idx="187">
                  <c:v>427</c:v>
                </c:pt>
                <c:pt idx="188">
                  <c:v>376</c:v>
                </c:pt>
                <c:pt idx="189">
                  <c:v>267</c:v>
                </c:pt>
                <c:pt idx="190">
                  <c:v>139</c:v>
                </c:pt>
                <c:pt idx="191">
                  <c:v>448</c:v>
                </c:pt>
                <c:pt idx="192">
                  <c:v>651</c:v>
                </c:pt>
                <c:pt idx="193">
                  <c:v>615</c:v>
                </c:pt>
                <c:pt idx="194">
                  <c:v>470</c:v>
                </c:pt>
                <c:pt idx="195">
                  <c:v>701</c:v>
                </c:pt>
                <c:pt idx="196">
                  <c:v>547</c:v>
                </c:pt>
                <c:pt idx="197">
                  <c:v>275</c:v>
                </c:pt>
                <c:pt idx="198">
                  <c:v>620</c:v>
                </c:pt>
                <c:pt idx="199">
                  <c:v>1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BA-4C71-B75C-6521C77AE7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574</c:v>
                </c:pt>
                <c:pt idx="196">
                  <c:v>575</c:v>
                </c:pt>
                <c:pt idx="197">
                  <c:v>591</c:v>
                </c:pt>
                <c:pt idx="198">
                  <c:v>616</c:v>
                </c:pt>
                <c:pt idx="199">
                  <c:v>632</c:v>
                </c:pt>
                <c:pt idx="200">
                  <c:v>641</c:v>
                </c:pt>
                <c:pt idx="201">
                  <c:v>648</c:v>
                </c:pt>
                <c:pt idx="202">
                  <c:v>652</c:v>
                </c:pt>
                <c:pt idx="203">
                  <c:v>668</c:v>
                </c:pt>
                <c:pt idx="204">
                  <c:v>686</c:v>
                </c:pt>
                <c:pt idx="205">
                  <c:v>701</c:v>
                </c:pt>
                <c:pt idx="206">
                  <c:v>711</c:v>
                </c:pt>
                <c:pt idx="207">
                  <c:v>721</c:v>
                </c:pt>
                <c:pt idx="208">
                  <c:v>733</c:v>
                </c:pt>
                <c:pt idx="209">
                  <c:v>747</c:v>
                </c:pt>
                <c:pt idx="210">
                  <c:v>763</c:v>
                </c:pt>
                <c:pt idx="211">
                  <c:v>778</c:v>
                </c:pt>
                <c:pt idx="212">
                  <c:v>791</c:v>
                </c:pt>
                <c:pt idx="213">
                  <c:v>804</c:v>
                </c:pt>
                <c:pt idx="214">
                  <c:v>818</c:v>
                </c:pt>
                <c:pt idx="215">
                  <c:v>834</c:v>
                </c:pt>
                <c:pt idx="216">
                  <c:v>850</c:v>
                </c:pt>
                <c:pt idx="217">
                  <c:v>865</c:v>
                </c:pt>
                <c:pt idx="218">
                  <c:v>8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2BA-4C71-B75C-6521C77AE78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594</c:v>
                </c:pt>
                <c:pt idx="196">
                  <c:v>609</c:v>
                </c:pt>
                <c:pt idx="197">
                  <c:v>634</c:v>
                </c:pt>
                <c:pt idx="198">
                  <c:v>666</c:v>
                </c:pt>
                <c:pt idx="199">
                  <c:v>691</c:v>
                </c:pt>
                <c:pt idx="200">
                  <c:v>714</c:v>
                </c:pt>
                <c:pt idx="201">
                  <c:v>735</c:v>
                </c:pt>
                <c:pt idx="202">
                  <c:v>755</c:v>
                </c:pt>
                <c:pt idx="203">
                  <c:v>784</c:v>
                </c:pt>
                <c:pt idx="204">
                  <c:v>815</c:v>
                </c:pt>
                <c:pt idx="205">
                  <c:v>845</c:v>
                </c:pt>
                <c:pt idx="206">
                  <c:v>872</c:v>
                </c:pt>
                <c:pt idx="207">
                  <c:v>899</c:v>
                </c:pt>
                <c:pt idx="208">
                  <c:v>930</c:v>
                </c:pt>
                <c:pt idx="209">
                  <c:v>963</c:v>
                </c:pt>
                <c:pt idx="210">
                  <c:v>998</c:v>
                </c:pt>
                <c:pt idx="211">
                  <c:v>1032</c:v>
                </c:pt>
                <c:pt idx="212">
                  <c:v>1067</c:v>
                </c:pt>
                <c:pt idx="213">
                  <c:v>1102</c:v>
                </c:pt>
                <c:pt idx="214">
                  <c:v>1140</c:v>
                </c:pt>
                <c:pt idx="215">
                  <c:v>1180</c:v>
                </c:pt>
                <c:pt idx="216">
                  <c:v>1221</c:v>
                </c:pt>
                <c:pt idx="217">
                  <c:v>1262</c:v>
                </c:pt>
                <c:pt idx="218">
                  <c:v>1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BA-4C71-B75C-6521C77AE78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615</c:v>
                </c:pt>
                <c:pt idx="196">
                  <c:v>643</c:v>
                </c:pt>
                <c:pt idx="197">
                  <c:v>677</c:v>
                </c:pt>
                <c:pt idx="198">
                  <c:v>716</c:v>
                </c:pt>
                <c:pt idx="199">
                  <c:v>752</c:v>
                </c:pt>
                <c:pt idx="200">
                  <c:v>789</c:v>
                </c:pt>
                <c:pt idx="201">
                  <c:v>826</c:v>
                </c:pt>
                <c:pt idx="202">
                  <c:v>865</c:v>
                </c:pt>
                <c:pt idx="203">
                  <c:v>910</c:v>
                </c:pt>
                <c:pt idx="204">
                  <c:v>957</c:v>
                </c:pt>
                <c:pt idx="205">
                  <c:v>1005</c:v>
                </c:pt>
                <c:pt idx="206">
                  <c:v>1054</c:v>
                </c:pt>
                <c:pt idx="207">
                  <c:v>1105</c:v>
                </c:pt>
                <c:pt idx="208">
                  <c:v>1159</c:v>
                </c:pt>
                <c:pt idx="209">
                  <c:v>1217</c:v>
                </c:pt>
                <c:pt idx="210">
                  <c:v>1279</c:v>
                </c:pt>
                <c:pt idx="211">
                  <c:v>1342</c:v>
                </c:pt>
                <c:pt idx="212">
                  <c:v>1408</c:v>
                </c:pt>
                <c:pt idx="213">
                  <c:v>1477</c:v>
                </c:pt>
                <c:pt idx="214">
                  <c:v>1550</c:v>
                </c:pt>
                <c:pt idx="215">
                  <c:v>1627</c:v>
                </c:pt>
                <c:pt idx="216">
                  <c:v>1708</c:v>
                </c:pt>
                <c:pt idx="217">
                  <c:v>1792</c:v>
                </c:pt>
                <c:pt idx="218">
                  <c:v>18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2BA-4C71-B75C-6521C77AE78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636</c:v>
                </c:pt>
                <c:pt idx="196">
                  <c:v>677</c:v>
                </c:pt>
                <c:pt idx="197">
                  <c:v>720</c:v>
                </c:pt>
                <c:pt idx="198">
                  <c:v>765</c:v>
                </c:pt>
                <c:pt idx="199">
                  <c:v>814</c:v>
                </c:pt>
                <c:pt idx="200">
                  <c:v>867</c:v>
                </c:pt>
                <c:pt idx="201">
                  <c:v>923</c:v>
                </c:pt>
                <c:pt idx="202">
                  <c:v>982</c:v>
                </c:pt>
                <c:pt idx="203">
                  <c:v>1045</c:v>
                </c:pt>
                <c:pt idx="204">
                  <c:v>1111</c:v>
                </c:pt>
                <c:pt idx="205">
                  <c:v>1182</c:v>
                </c:pt>
                <c:pt idx="206">
                  <c:v>1258</c:v>
                </c:pt>
                <c:pt idx="207">
                  <c:v>1339</c:v>
                </c:pt>
                <c:pt idx="208">
                  <c:v>1425</c:v>
                </c:pt>
                <c:pt idx="209">
                  <c:v>1515</c:v>
                </c:pt>
                <c:pt idx="210">
                  <c:v>1612</c:v>
                </c:pt>
                <c:pt idx="211">
                  <c:v>1715</c:v>
                </c:pt>
                <c:pt idx="212">
                  <c:v>1824</c:v>
                </c:pt>
                <c:pt idx="213">
                  <c:v>1941</c:v>
                </c:pt>
                <c:pt idx="214">
                  <c:v>2065</c:v>
                </c:pt>
                <c:pt idx="215">
                  <c:v>2196</c:v>
                </c:pt>
                <c:pt idx="216">
                  <c:v>2336</c:v>
                </c:pt>
                <c:pt idx="217">
                  <c:v>2485</c:v>
                </c:pt>
                <c:pt idx="218">
                  <c:v>26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E-47F1-A483-499E1EA87FD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927652740990251</c:v>
                </c:pt>
                <c:pt idx="1">
                  <c:v>24.234887466891227</c:v>
                </c:pt>
                <c:pt idx="2">
                  <c:v>22.031715878992024</c:v>
                </c:pt>
                <c:pt idx="3">
                  <c:v>18.604560075593266</c:v>
                </c:pt>
                <c:pt idx="4">
                  <c:v>19.216552183343044</c:v>
                </c:pt>
                <c:pt idx="5">
                  <c:v>19.094153761793088</c:v>
                </c:pt>
                <c:pt idx="6">
                  <c:v>15.911794801494239</c:v>
                </c:pt>
                <c:pt idx="7">
                  <c:v>14.687810585994685</c:v>
                </c:pt>
                <c:pt idx="8">
                  <c:v>13.953420056694949</c:v>
                </c:pt>
                <c:pt idx="9">
                  <c:v>13.463826370495125</c:v>
                </c:pt>
                <c:pt idx="10">
                  <c:v>12.48463899809548</c:v>
                </c:pt>
                <c:pt idx="11">
                  <c:v>9.9142721455464109</c:v>
                </c:pt>
                <c:pt idx="12">
                  <c:v>9.9142721455464109</c:v>
                </c:pt>
                <c:pt idx="13">
                  <c:v>8.935084773146766</c:v>
                </c:pt>
                <c:pt idx="14">
                  <c:v>6.8543116067975189</c:v>
                </c:pt>
                <c:pt idx="15">
                  <c:v>6.1199210774977839</c:v>
                </c:pt>
                <c:pt idx="16">
                  <c:v>5.0183352835481836</c:v>
                </c:pt>
                <c:pt idx="17">
                  <c:v>5.0183352835481836</c:v>
                </c:pt>
                <c:pt idx="18">
                  <c:v>5.3855305481980507</c:v>
                </c:pt>
                <c:pt idx="19">
                  <c:v>5.2631321266480944</c:v>
                </c:pt>
                <c:pt idx="20">
                  <c:v>3.7943510680486265</c:v>
                </c:pt>
                <c:pt idx="21">
                  <c:v>3.9167494895985819</c:v>
                </c:pt>
                <c:pt idx="22">
                  <c:v>3.3047573818488036</c:v>
                </c:pt>
                <c:pt idx="23">
                  <c:v>3.059960538748892</c:v>
                </c:pt>
                <c:pt idx="24">
                  <c:v>2.9375621171989366</c:v>
                </c:pt>
                <c:pt idx="25">
                  <c:v>2.8151636956489807</c:v>
                </c:pt>
                <c:pt idx="26">
                  <c:v>2.8151636956489807</c:v>
                </c:pt>
                <c:pt idx="27">
                  <c:v>3.1823589602988478</c:v>
                </c:pt>
                <c:pt idx="28">
                  <c:v>2.2031715878992024</c:v>
                </c:pt>
                <c:pt idx="29">
                  <c:v>2.2031715878992024</c:v>
                </c:pt>
                <c:pt idx="30">
                  <c:v>2.2031715878992024</c:v>
                </c:pt>
                <c:pt idx="31">
                  <c:v>2.4479684309991141</c:v>
                </c:pt>
                <c:pt idx="32">
                  <c:v>2.4479684309991141</c:v>
                </c:pt>
                <c:pt idx="33">
                  <c:v>2.6927652740990253</c:v>
                </c:pt>
                <c:pt idx="34">
                  <c:v>2.5703668525490695</c:v>
                </c:pt>
                <c:pt idx="35">
                  <c:v>2.8151636956489807</c:v>
                </c:pt>
                <c:pt idx="36">
                  <c:v>3.6719526464986711</c:v>
                </c:pt>
                <c:pt idx="37">
                  <c:v>4.6511400188983165</c:v>
                </c:pt>
                <c:pt idx="38">
                  <c:v>4.7735384404482719</c:v>
                </c:pt>
                <c:pt idx="39">
                  <c:v>4.7735384404482719</c:v>
                </c:pt>
                <c:pt idx="40">
                  <c:v>4.6511400188983165</c:v>
                </c:pt>
                <c:pt idx="41">
                  <c:v>5.3855305481980507</c:v>
                </c:pt>
                <c:pt idx="42">
                  <c:v>7.3439052929973423</c:v>
                </c:pt>
                <c:pt idx="43">
                  <c:v>7.5887021360972531</c:v>
                </c:pt>
                <c:pt idx="44">
                  <c:v>6.6095147636976073</c:v>
                </c:pt>
                <c:pt idx="45">
                  <c:v>6.4871163421476519</c:v>
                </c:pt>
                <c:pt idx="46">
                  <c:v>6.4871163421476519</c:v>
                </c:pt>
                <c:pt idx="47">
                  <c:v>7.4663037145472977</c:v>
                </c:pt>
                <c:pt idx="48">
                  <c:v>6.9767100283474743</c:v>
                </c:pt>
                <c:pt idx="49">
                  <c:v>5.9975226559478294</c:v>
                </c:pt>
                <c:pt idx="50">
                  <c:v>5.6303273912979614</c:v>
                </c:pt>
                <c:pt idx="51">
                  <c:v>6.2423194990477402</c:v>
                </c:pt>
                <c:pt idx="52">
                  <c:v>6.2423194990477402</c:v>
                </c:pt>
                <c:pt idx="53">
                  <c:v>6.6095147636976073</c:v>
                </c:pt>
                <c:pt idx="54">
                  <c:v>5.6303273912979614</c:v>
                </c:pt>
                <c:pt idx="55">
                  <c:v>6.9767100283474743</c:v>
                </c:pt>
                <c:pt idx="56">
                  <c:v>7.0991084498974306</c:v>
                </c:pt>
                <c:pt idx="57">
                  <c:v>7.4663037145472977</c:v>
                </c:pt>
                <c:pt idx="58">
                  <c:v>7.221506871447386</c:v>
                </c:pt>
                <c:pt idx="59">
                  <c:v>7.0991084498974306</c:v>
                </c:pt>
                <c:pt idx="60">
                  <c:v>6.8543116067975189</c:v>
                </c:pt>
                <c:pt idx="61">
                  <c:v>6.8543116067975189</c:v>
                </c:pt>
                <c:pt idx="62">
                  <c:v>5.6303273912979614</c:v>
                </c:pt>
                <c:pt idx="63">
                  <c:v>5.2631321266480944</c:v>
                </c:pt>
                <c:pt idx="64">
                  <c:v>5.0183352835481836</c:v>
                </c:pt>
                <c:pt idx="65">
                  <c:v>4.5287415973483602</c:v>
                </c:pt>
                <c:pt idx="66">
                  <c:v>4.2839447542484494</c:v>
                </c:pt>
                <c:pt idx="67">
                  <c:v>4.6511400188983165</c:v>
                </c:pt>
                <c:pt idx="68">
                  <c:v>5.3855305481980507</c:v>
                </c:pt>
                <c:pt idx="69">
                  <c:v>5.9975226559478294</c:v>
                </c:pt>
                <c:pt idx="70">
                  <c:v>6.3647179205976956</c:v>
                </c:pt>
                <c:pt idx="71">
                  <c:v>5.7527258128479177</c:v>
                </c:pt>
                <c:pt idx="72">
                  <c:v>6.2423194990477402</c:v>
                </c:pt>
                <c:pt idx="73">
                  <c:v>6.9767100283474743</c:v>
                </c:pt>
                <c:pt idx="74">
                  <c:v>7.4663037145472977</c:v>
                </c:pt>
                <c:pt idx="75">
                  <c:v>6.7319131852475627</c:v>
                </c:pt>
                <c:pt idx="76">
                  <c:v>6.3647179205976956</c:v>
                </c:pt>
                <c:pt idx="77">
                  <c:v>6.8543116067975189</c:v>
                </c:pt>
                <c:pt idx="78">
                  <c:v>7.0991084498974306</c:v>
                </c:pt>
                <c:pt idx="79">
                  <c:v>7.221506871447386</c:v>
                </c:pt>
                <c:pt idx="80">
                  <c:v>6.6095147636976073</c:v>
                </c:pt>
                <c:pt idx="81">
                  <c:v>6.8543116067975189</c:v>
                </c:pt>
                <c:pt idx="82">
                  <c:v>7.8334989791971639</c:v>
                </c:pt>
                <c:pt idx="83">
                  <c:v>8.0782958222970755</c:v>
                </c:pt>
                <c:pt idx="84">
                  <c:v>6.6095147636976073</c:v>
                </c:pt>
                <c:pt idx="85">
                  <c:v>7.7111005576472094</c:v>
                </c:pt>
                <c:pt idx="86">
                  <c:v>7.4663037145472977</c:v>
                </c:pt>
                <c:pt idx="87">
                  <c:v>8.0782958222970755</c:v>
                </c:pt>
                <c:pt idx="88">
                  <c:v>7.3439052929973423</c:v>
                </c:pt>
                <c:pt idx="89">
                  <c:v>6.7319131852475627</c:v>
                </c:pt>
                <c:pt idx="90">
                  <c:v>8.0782958222970755</c:v>
                </c:pt>
                <c:pt idx="91">
                  <c:v>9.1798816162466768</c:v>
                </c:pt>
                <c:pt idx="92">
                  <c:v>9.6694753024465001</c:v>
                </c:pt>
                <c:pt idx="93">
                  <c:v>10.648662674846145</c:v>
                </c:pt>
                <c:pt idx="94">
                  <c:v>11.383053204145879</c:v>
                </c:pt>
                <c:pt idx="95">
                  <c:v>13.463826370495125</c:v>
                </c:pt>
                <c:pt idx="96">
                  <c:v>13.831021635144994</c:v>
                </c:pt>
                <c:pt idx="97">
                  <c:v>15.666997958394328</c:v>
                </c:pt>
                <c:pt idx="98">
                  <c:v>17.502974281643663</c:v>
                </c:pt>
                <c:pt idx="99">
                  <c:v>17.625372703193619</c:v>
                </c:pt>
                <c:pt idx="100">
                  <c:v>18.604560075593266</c:v>
                </c:pt>
                <c:pt idx="101">
                  <c:v>19.216552183343044</c:v>
                </c:pt>
                <c:pt idx="102">
                  <c:v>17.380575860093707</c:v>
                </c:pt>
                <c:pt idx="103">
                  <c:v>17.625372703193619</c:v>
                </c:pt>
                <c:pt idx="104">
                  <c:v>15.666997958394328</c:v>
                </c:pt>
                <c:pt idx="105">
                  <c:v>15.544599536844375</c:v>
                </c:pt>
                <c:pt idx="106">
                  <c:v>16.646185330793973</c:v>
                </c:pt>
                <c:pt idx="107">
                  <c:v>17.380575860093707</c:v>
                </c:pt>
                <c:pt idx="108">
                  <c:v>17.747771124743576</c:v>
                </c:pt>
                <c:pt idx="109">
                  <c:v>18.726958497143222</c:v>
                </c:pt>
                <c:pt idx="110">
                  <c:v>19.338950604893</c:v>
                </c:pt>
                <c:pt idx="111">
                  <c:v>19.950942712642778</c:v>
                </c:pt>
                <c:pt idx="112">
                  <c:v>20.073341134192734</c:v>
                </c:pt>
                <c:pt idx="113">
                  <c:v>18.604560075593266</c:v>
                </c:pt>
                <c:pt idx="114">
                  <c:v>17.992567967843488</c:v>
                </c:pt>
                <c:pt idx="115">
                  <c:v>17.870169546293532</c:v>
                </c:pt>
                <c:pt idx="116">
                  <c:v>18.849356918693179</c:v>
                </c:pt>
                <c:pt idx="117">
                  <c:v>18.359763232493354</c:v>
                </c:pt>
                <c:pt idx="118">
                  <c:v>19.950942712642778</c:v>
                </c:pt>
                <c:pt idx="119">
                  <c:v>21.052528506592378</c:v>
                </c:pt>
                <c:pt idx="120">
                  <c:v>24.969277996190961</c:v>
                </c:pt>
                <c:pt idx="121">
                  <c:v>29.375621171989369</c:v>
                </c:pt>
                <c:pt idx="122">
                  <c:v>31.578792759888564</c:v>
                </c:pt>
                <c:pt idx="123">
                  <c:v>33.047573818488033</c:v>
                </c:pt>
                <c:pt idx="124">
                  <c:v>33.78196434778777</c:v>
                </c:pt>
                <c:pt idx="125">
                  <c:v>34.271558033987596</c:v>
                </c:pt>
                <c:pt idx="126">
                  <c:v>35.005948563287326</c:v>
                </c:pt>
                <c:pt idx="127">
                  <c:v>35.250745406387239</c:v>
                </c:pt>
                <c:pt idx="128">
                  <c:v>32.80277697538812</c:v>
                </c:pt>
                <c:pt idx="129">
                  <c:v>32.435581710738262</c:v>
                </c:pt>
                <c:pt idx="130">
                  <c:v>31.578792759888564</c:v>
                </c:pt>
                <c:pt idx="131">
                  <c:v>32.680378553838167</c:v>
                </c:pt>
                <c:pt idx="132">
                  <c:v>36.352331200336835</c:v>
                </c:pt>
                <c:pt idx="133">
                  <c:v>38.188307523586175</c:v>
                </c:pt>
                <c:pt idx="134">
                  <c:v>38.310705945136128</c:v>
                </c:pt>
                <c:pt idx="135">
                  <c:v>41.493064905434977</c:v>
                </c:pt>
                <c:pt idx="136">
                  <c:v>44.430627022633921</c:v>
                </c:pt>
                <c:pt idx="137">
                  <c:v>46.144204924333295</c:v>
                </c:pt>
                <c:pt idx="138">
                  <c:v>46.144204924333295</c:v>
                </c:pt>
                <c:pt idx="139">
                  <c:v>49.081767041532238</c:v>
                </c:pt>
                <c:pt idx="140">
                  <c:v>57.894453393129041</c:v>
                </c:pt>
                <c:pt idx="141">
                  <c:v>65.97274921542612</c:v>
                </c:pt>
                <c:pt idx="142">
                  <c:v>72.092670292923899</c:v>
                </c:pt>
                <c:pt idx="143">
                  <c:v>79.191778742821327</c:v>
                </c:pt>
                <c:pt idx="144">
                  <c:v>89.473246153017612</c:v>
                </c:pt>
                <c:pt idx="145">
                  <c:v>95.715565652065351</c:v>
                </c:pt>
                <c:pt idx="146">
                  <c:v>104.40585358211221</c:v>
                </c:pt>
                <c:pt idx="147">
                  <c:v>116.15610205090795</c:v>
                </c:pt>
                <c:pt idx="148">
                  <c:v>127.049561568854</c:v>
                </c:pt>
                <c:pt idx="149">
                  <c:v>138.79981003764976</c:v>
                </c:pt>
                <c:pt idx="150">
                  <c:v>144.91973111514753</c:v>
                </c:pt>
                <c:pt idx="151">
                  <c:v>164.3810801415905</c:v>
                </c:pt>
                <c:pt idx="152">
                  <c:v>170.37860279753832</c:v>
                </c:pt>
                <c:pt idx="153">
                  <c:v>178.45689861983539</c:v>
                </c:pt>
                <c:pt idx="154">
                  <c:v>197.67345080317847</c:v>
                </c:pt>
                <c:pt idx="155">
                  <c:v>213.95244086932254</c:v>
                </c:pt>
                <c:pt idx="156">
                  <c:v>240.51289834566293</c:v>
                </c:pt>
                <c:pt idx="157">
                  <c:v>265.48217634185386</c:v>
                </c:pt>
                <c:pt idx="158">
                  <c:v>263.15660633240475</c:v>
                </c:pt>
                <c:pt idx="159">
                  <c:v>264.87018423410416</c:v>
                </c:pt>
                <c:pt idx="160">
                  <c:v>291.30824328889457</c:v>
                </c:pt>
                <c:pt idx="161">
                  <c:v>324.11102026428267</c:v>
                </c:pt>
                <c:pt idx="162">
                  <c:v>357.77058619052048</c:v>
                </c:pt>
                <c:pt idx="163">
                  <c:v>363.03371831716856</c:v>
                </c:pt>
                <c:pt idx="164">
                  <c:v>402.81320532090416</c:v>
                </c:pt>
                <c:pt idx="165">
                  <c:v>437.08476335489178</c:v>
                </c:pt>
                <c:pt idx="166">
                  <c:v>453.73094868568575</c:v>
                </c:pt>
                <c:pt idx="167">
                  <c:v>474.7834771922781</c:v>
                </c:pt>
                <c:pt idx="168">
                  <c:v>523.37565054761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1E-47F1-A483-499E1EA87F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369.52083465931622</c:v>
                </c:pt>
                <c:pt idx="165" formatCode="0">
                  <c:v>381.51587997121192</c:v>
                </c:pt>
                <c:pt idx="166" formatCode="0">
                  <c:v>392.16454264605801</c:v>
                </c:pt>
                <c:pt idx="167" formatCode="0">
                  <c:v>402.44601005625429</c:v>
                </c:pt>
                <c:pt idx="168" formatCode="0">
                  <c:v>411.13629798630114</c:v>
                </c:pt>
                <c:pt idx="169" formatCode="0">
                  <c:v>417.50101590689889</c:v>
                </c:pt>
                <c:pt idx="170" formatCode="0">
                  <c:v>421.05057013184762</c:v>
                </c:pt>
                <c:pt idx="171" formatCode="0">
                  <c:v>427.17049120934541</c:v>
                </c:pt>
                <c:pt idx="172" formatCode="0">
                  <c:v>436.22797440404207</c:v>
                </c:pt>
                <c:pt idx="173" formatCode="0">
                  <c:v>445.53025444183874</c:v>
                </c:pt>
                <c:pt idx="174" formatCode="0">
                  <c:v>453.73094868568575</c:v>
                </c:pt>
                <c:pt idx="175" formatCode="0">
                  <c:v>461.44204924333297</c:v>
                </c:pt>
                <c:pt idx="176" formatCode="0">
                  <c:v>469.15314980098015</c:v>
                </c:pt>
                <c:pt idx="177" formatCode="0">
                  <c:v>477.47624246637713</c:v>
                </c:pt>
                <c:pt idx="178" formatCode="0">
                  <c:v>486.77852250417379</c:v>
                </c:pt>
                <c:pt idx="179" formatCode="0">
                  <c:v>496.0808025419704</c:v>
                </c:pt>
                <c:pt idx="180" formatCode="0">
                  <c:v>505.13828573666717</c:v>
                </c:pt>
                <c:pt idx="181" formatCode="0">
                  <c:v>513.95097208826394</c:v>
                </c:pt>
                <c:pt idx="182" formatCode="0">
                  <c:v>523.13085370451063</c:v>
                </c:pt>
                <c:pt idx="183" formatCode="0">
                  <c:v>532.67793058540713</c:v>
                </c:pt>
                <c:pt idx="184" formatCode="0">
                  <c:v>542.59220273095355</c:v>
                </c:pt>
                <c:pt idx="185" formatCode="0">
                  <c:v>552.62887329804994</c:v>
                </c:pt>
                <c:pt idx="186" formatCode="0">
                  <c:v>562.66554386514622</c:v>
                </c:pt>
                <c:pt idx="187" formatCode="0">
                  <c:v>572.702214432242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1E-47F1-A483-499E1EA87F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371.6016078256655</c:v>
                </c:pt>
                <c:pt idx="165" formatCode="0">
                  <c:v>386.90141051940998</c:v>
                </c:pt>
                <c:pt idx="166" formatCode="0">
                  <c:v>401.83401794850454</c:v>
                </c:pt>
                <c:pt idx="167" formatCode="0">
                  <c:v>416.88902379914907</c:v>
                </c:pt>
                <c:pt idx="168" formatCode="0">
                  <c:v>431.45443596359382</c:v>
                </c:pt>
                <c:pt idx="169" formatCode="0">
                  <c:v>444.91826233408898</c:v>
                </c:pt>
                <c:pt idx="170" formatCode="0">
                  <c:v>456.91330764598456</c:v>
                </c:pt>
                <c:pt idx="171" formatCode="0">
                  <c:v>470.98912612422953</c:v>
                </c:pt>
                <c:pt idx="172" formatCode="0">
                  <c:v>488.12490514122328</c:v>
                </c:pt>
                <c:pt idx="173" formatCode="0">
                  <c:v>505.87267626596685</c:v>
                </c:pt>
                <c:pt idx="174" formatCode="0">
                  <c:v>523.49804896916055</c:v>
                </c:pt>
                <c:pt idx="175" formatCode="0">
                  <c:v>541.12342167235408</c:v>
                </c:pt>
                <c:pt idx="176" formatCode="0">
                  <c:v>559.23838806174763</c:v>
                </c:pt>
                <c:pt idx="177" formatCode="0">
                  <c:v>578.33254182354062</c:v>
                </c:pt>
                <c:pt idx="178" formatCode="0">
                  <c:v>598.65067980083325</c:v>
                </c:pt>
                <c:pt idx="179" formatCode="0">
                  <c:v>619.58080988587574</c:v>
                </c:pt>
                <c:pt idx="180" formatCode="0">
                  <c:v>640.87813523556804</c:v>
                </c:pt>
                <c:pt idx="181" formatCode="0">
                  <c:v>662.54265584991015</c:v>
                </c:pt>
                <c:pt idx="182" formatCode="0">
                  <c:v>685.06396541510207</c:v>
                </c:pt>
                <c:pt idx="183" formatCode="0">
                  <c:v>708.68686077424343</c:v>
                </c:pt>
                <c:pt idx="184" formatCode="0">
                  <c:v>733.28894350578457</c:v>
                </c:pt>
                <c:pt idx="185" formatCode="0">
                  <c:v>758.62541676662534</c:v>
                </c:pt>
                <c:pt idx="186" formatCode="0">
                  <c:v>784.57388213521597</c:v>
                </c:pt>
                <c:pt idx="187" formatCode="0">
                  <c:v>811.25673803310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1E-47F1-A483-499E1EA87F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373.68238099201471</c:v>
                </c:pt>
                <c:pt idx="165" formatCode="0">
                  <c:v>392.28694106760798</c:v>
                </c:pt>
                <c:pt idx="166" formatCode="0">
                  <c:v>411.38109482940109</c:v>
                </c:pt>
                <c:pt idx="167" formatCode="0">
                  <c:v>431.33203754204385</c:v>
                </c:pt>
                <c:pt idx="168" formatCode="0">
                  <c:v>451.89497236243642</c:v>
                </c:pt>
                <c:pt idx="169" formatCode="0">
                  <c:v>472.70270402592888</c:v>
                </c:pt>
                <c:pt idx="170" formatCode="0">
                  <c:v>493.75523253252123</c:v>
                </c:pt>
                <c:pt idx="171" formatCode="0">
                  <c:v>516.52133894081305</c:v>
                </c:pt>
                <c:pt idx="172" formatCode="0">
                  <c:v>542.59220273095355</c:v>
                </c:pt>
                <c:pt idx="173" formatCode="0">
                  <c:v>570.00944915814364</c:v>
                </c:pt>
                <c:pt idx="174" formatCode="0">
                  <c:v>598.4058829577333</c:v>
                </c:pt>
                <c:pt idx="175" formatCode="0">
                  <c:v>627.90390255127261</c:v>
                </c:pt>
                <c:pt idx="176" formatCode="0">
                  <c:v>658.87070320341149</c:v>
                </c:pt>
                <c:pt idx="177" formatCode="0">
                  <c:v>691.4286833356997</c:v>
                </c:pt>
                <c:pt idx="178" formatCode="0">
                  <c:v>725.94503821278727</c:v>
                </c:pt>
                <c:pt idx="179" formatCode="0">
                  <c:v>762.17497099157413</c:v>
                </c:pt>
                <c:pt idx="180" formatCode="0">
                  <c:v>799.99608325051031</c:v>
                </c:pt>
                <c:pt idx="181" formatCode="0">
                  <c:v>839.40837498959615</c:v>
                </c:pt>
                <c:pt idx="182" formatCode="0">
                  <c:v>880.9014398950311</c:v>
                </c:pt>
                <c:pt idx="183" formatCode="0">
                  <c:v>924.47527796681527</c:v>
                </c:pt>
                <c:pt idx="184" formatCode="0">
                  <c:v>970.3746860480486</c:v>
                </c:pt>
                <c:pt idx="185" formatCode="0">
                  <c:v>1018.4772657171814</c:v>
                </c:pt>
                <c:pt idx="186" formatCode="0">
                  <c:v>1068.7830169742131</c:v>
                </c:pt>
                <c:pt idx="187" formatCode="0">
                  <c:v>1121.536736662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B1E-47F1-A483-499E1EA87F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375.76315415836399</c:v>
                </c:pt>
                <c:pt idx="165" formatCode="0">
                  <c:v>397.67247161580599</c:v>
                </c:pt>
                <c:pt idx="166" formatCode="0">
                  <c:v>421.05057013184762</c:v>
                </c:pt>
                <c:pt idx="167" formatCode="0">
                  <c:v>445.8974497064886</c:v>
                </c:pt>
                <c:pt idx="168" formatCode="0">
                  <c:v>472.45790718282893</c:v>
                </c:pt>
                <c:pt idx="169" formatCode="0">
                  <c:v>500.85434098241865</c:v>
                </c:pt>
                <c:pt idx="170" formatCode="0">
                  <c:v>531.33154794835764</c:v>
                </c:pt>
                <c:pt idx="171" formatCode="0">
                  <c:v>563.52233281599604</c:v>
                </c:pt>
                <c:pt idx="172" formatCode="0">
                  <c:v>599.62986717323292</c:v>
                </c:pt>
                <c:pt idx="173" formatCode="0">
                  <c:v>637.940573118369</c:v>
                </c:pt>
                <c:pt idx="174" formatCode="0">
                  <c:v>678.82164591605431</c:v>
                </c:pt>
                <c:pt idx="175" formatCode="0">
                  <c:v>722.39548398783847</c:v>
                </c:pt>
                <c:pt idx="176" formatCode="0">
                  <c:v>768.66208733372173</c:v>
                </c:pt>
                <c:pt idx="177" formatCode="0">
                  <c:v>817.86625279680391</c:v>
                </c:pt>
                <c:pt idx="178" formatCode="0">
                  <c:v>870.13037879863498</c:v>
                </c:pt>
                <c:pt idx="179" formatCode="0">
                  <c:v>925.6992621823149</c:v>
                </c:pt>
                <c:pt idx="180" formatCode="0">
                  <c:v>984.81769979094361</c:v>
                </c:pt>
                <c:pt idx="181" formatCode="0">
                  <c:v>1047.7304884676207</c:v>
                </c:pt>
                <c:pt idx="182" formatCode="0">
                  <c:v>1114.5600266338965</c:v>
                </c:pt>
                <c:pt idx="183" formatCode="0">
                  <c:v>1185.7959079759707</c:v>
                </c:pt>
                <c:pt idx="184" formatCode="0">
                  <c:v>1261.4381324938433</c:v>
                </c:pt>
                <c:pt idx="185" formatCode="0">
                  <c:v>1341.8538954521644</c:v>
                </c:pt>
                <c:pt idx="186" formatCode="0">
                  <c:v>1427.4103921155831</c:v>
                </c:pt>
                <c:pt idx="187" formatCode="0">
                  <c:v>1518.4748177487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9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4</c:v>
                </c:pt>
                <c:pt idx="1">
                  <c:v>30</c:v>
                </c:pt>
                <c:pt idx="2">
                  <c:v>110</c:v>
                </c:pt>
                <c:pt idx="3">
                  <c:v>80</c:v>
                </c:pt>
                <c:pt idx="4">
                  <c:v>55</c:v>
                </c:pt>
                <c:pt idx="5">
                  <c:v>65</c:v>
                </c:pt>
                <c:pt idx="6">
                  <c:v>55</c:v>
                </c:pt>
                <c:pt idx="7">
                  <c:v>12</c:v>
                </c:pt>
                <c:pt idx="8">
                  <c:v>15</c:v>
                </c:pt>
                <c:pt idx="9">
                  <c:v>69</c:v>
                </c:pt>
                <c:pt idx="10">
                  <c:v>72</c:v>
                </c:pt>
                <c:pt idx="11">
                  <c:v>42</c:v>
                </c:pt>
                <c:pt idx="12">
                  <c:v>33</c:v>
                </c:pt>
                <c:pt idx="13">
                  <c:v>51</c:v>
                </c:pt>
                <c:pt idx="14">
                  <c:v>13</c:v>
                </c:pt>
                <c:pt idx="15">
                  <c:v>12</c:v>
                </c:pt>
                <c:pt idx="16">
                  <c:v>62</c:v>
                </c:pt>
                <c:pt idx="17">
                  <c:v>38</c:v>
                </c:pt>
                <c:pt idx="18">
                  <c:v>39</c:v>
                </c:pt>
                <c:pt idx="19">
                  <c:v>47</c:v>
                </c:pt>
                <c:pt idx="20">
                  <c:v>43</c:v>
                </c:pt>
                <c:pt idx="21">
                  <c:v>16</c:v>
                </c:pt>
                <c:pt idx="22">
                  <c:v>12</c:v>
                </c:pt>
                <c:pt idx="23">
                  <c:v>37</c:v>
                </c:pt>
                <c:pt idx="24">
                  <c:v>35</c:v>
                </c:pt>
                <c:pt idx="25">
                  <c:v>22</c:v>
                </c:pt>
                <c:pt idx="26">
                  <c:v>22</c:v>
                </c:pt>
                <c:pt idx="27">
                  <c:v>22</c:v>
                </c:pt>
                <c:pt idx="28">
                  <c:v>11</c:v>
                </c:pt>
                <c:pt idx="29">
                  <c:v>7</c:v>
                </c:pt>
                <c:pt idx="30">
                  <c:v>37</c:v>
                </c:pt>
                <c:pt idx="31">
                  <c:v>39</c:v>
                </c:pt>
                <c:pt idx="32">
                  <c:v>19</c:v>
                </c:pt>
                <c:pt idx="33">
                  <c:v>21</c:v>
                </c:pt>
                <c:pt idx="34">
                  <c:v>27</c:v>
                </c:pt>
                <c:pt idx="35">
                  <c:v>2</c:v>
                </c:pt>
                <c:pt idx="36">
                  <c:v>15</c:v>
                </c:pt>
                <c:pt idx="37">
                  <c:v>16</c:v>
                </c:pt>
                <c:pt idx="38">
                  <c:v>18</c:v>
                </c:pt>
                <c:pt idx="39">
                  <c:v>21</c:v>
                </c:pt>
                <c:pt idx="40">
                  <c:v>23</c:v>
                </c:pt>
                <c:pt idx="41">
                  <c:v>8</c:v>
                </c:pt>
                <c:pt idx="42">
                  <c:v>0</c:v>
                </c:pt>
                <c:pt idx="43">
                  <c:v>3</c:v>
                </c:pt>
                <c:pt idx="44">
                  <c:v>19</c:v>
                </c:pt>
                <c:pt idx="45">
                  <c:v>17</c:v>
                </c:pt>
                <c:pt idx="46">
                  <c:v>8</c:v>
                </c:pt>
                <c:pt idx="47">
                  <c:v>4</c:v>
                </c:pt>
                <c:pt idx="48">
                  <c:v>6</c:v>
                </c:pt>
                <c:pt idx="49">
                  <c:v>0</c:v>
                </c:pt>
                <c:pt idx="50">
                  <c:v>8</c:v>
                </c:pt>
                <c:pt idx="51">
                  <c:v>10</c:v>
                </c:pt>
                <c:pt idx="52">
                  <c:v>5</c:v>
                </c:pt>
                <c:pt idx="53">
                  <c:v>7</c:v>
                </c:pt>
                <c:pt idx="54">
                  <c:v>3</c:v>
                </c:pt>
                <c:pt idx="55">
                  <c:v>4</c:v>
                </c:pt>
                <c:pt idx="56">
                  <c:v>1</c:v>
                </c:pt>
                <c:pt idx="57">
                  <c:v>6</c:v>
                </c:pt>
                <c:pt idx="58">
                  <c:v>7</c:v>
                </c:pt>
                <c:pt idx="59">
                  <c:v>5</c:v>
                </c:pt>
                <c:pt idx="60">
                  <c:v>5</c:v>
                </c:pt>
                <c:pt idx="61">
                  <c:v>6</c:v>
                </c:pt>
                <c:pt idx="62">
                  <c:v>6</c:v>
                </c:pt>
                <c:pt idx="63">
                  <c:v>1</c:v>
                </c:pt>
                <c:pt idx="64">
                  <c:v>2</c:v>
                </c:pt>
                <c:pt idx="65">
                  <c:v>6</c:v>
                </c:pt>
                <c:pt idx="66">
                  <c:v>5</c:v>
                </c:pt>
                <c:pt idx="67">
                  <c:v>5</c:v>
                </c:pt>
                <c:pt idx="68">
                  <c:v>10</c:v>
                </c:pt>
                <c:pt idx="69">
                  <c:v>6</c:v>
                </c:pt>
                <c:pt idx="70">
                  <c:v>3</c:v>
                </c:pt>
                <c:pt idx="71">
                  <c:v>2</c:v>
                </c:pt>
                <c:pt idx="72">
                  <c:v>6</c:v>
                </c:pt>
                <c:pt idx="73">
                  <c:v>4</c:v>
                </c:pt>
                <c:pt idx="74">
                  <c:v>8</c:v>
                </c:pt>
                <c:pt idx="75">
                  <c:v>8</c:v>
                </c:pt>
                <c:pt idx="76">
                  <c:v>6</c:v>
                </c:pt>
                <c:pt idx="77">
                  <c:v>0</c:v>
                </c:pt>
                <c:pt idx="78">
                  <c:v>4</c:v>
                </c:pt>
                <c:pt idx="79">
                  <c:v>5</c:v>
                </c:pt>
                <c:pt idx="80">
                  <c:v>10</c:v>
                </c:pt>
                <c:pt idx="81">
                  <c:v>9</c:v>
                </c:pt>
                <c:pt idx="82">
                  <c:v>7</c:v>
                </c:pt>
                <c:pt idx="83">
                  <c:v>10</c:v>
                </c:pt>
                <c:pt idx="84">
                  <c:v>1</c:v>
                </c:pt>
                <c:pt idx="85">
                  <c:v>8</c:v>
                </c:pt>
                <c:pt idx="86">
                  <c:v>5</c:v>
                </c:pt>
                <c:pt idx="87">
                  <c:v>17</c:v>
                </c:pt>
                <c:pt idx="88">
                  <c:v>8</c:v>
                </c:pt>
                <c:pt idx="89">
                  <c:v>10</c:v>
                </c:pt>
                <c:pt idx="90">
                  <c:v>2</c:v>
                </c:pt>
                <c:pt idx="91">
                  <c:v>1</c:v>
                </c:pt>
                <c:pt idx="92">
                  <c:v>4</c:v>
                </c:pt>
                <c:pt idx="93">
                  <c:v>6</c:v>
                </c:pt>
                <c:pt idx="94">
                  <c:v>4</c:v>
                </c:pt>
                <c:pt idx="95">
                  <c:v>4</c:v>
                </c:pt>
                <c:pt idx="96">
                  <c:v>10</c:v>
                </c:pt>
                <c:pt idx="97">
                  <c:v>9</c:v>
                </c:pt>
                <c:pt idx="98">
                  <c:v>0</c:v>
                </c:pt>
                <c:pt idx="99">
                  <c:v>4</c:v>
                </c:pt>
                <c:pt idx="100">
                  <c:v>5</c:v>
                </c:pt>
                <c:pt idx="101">
                  <c:v>7</c:v>
                </c:pt>
                <c:pt idx="102">
                  <c:v>3</c:v>
                </c:pt>
                <c:pt idx="103">
                  <c:v>10</c:v>
                </c:pt>
                <c:pt idx="104">
                  <c:v>5</c:v>
                </c:pt>
                <c:pt idx="105">
                  <c:v>6</c:v>
                </c:pt>
                <c:pt idx="106">
                  <c:v>19</c:v>
                </c:pt>
                <c:pt idx="107">
                  <c:v>18</c:v>
                </c:pt>
                <c:pt idx="108">
                  <c:v>24</c:v>
                </c:pt>
                <c:pt idx="109">
                  <c:v>14</c:v>
                </c:pt>
                <c:pt idx="110">
                  <c:v>9</c:v>
                </c:pt>
                <c:pt idx="111">
                  <c:v>7</c:v>
                </c:pt>
                <c:pt idx="112">
                  <c:v>2</c:v>
                </c:pt>
                <c:pt idx="113">
                  <c:v>1</c:v>
                </c:pt>
                <c:pt idx="114">
                  <c:v>14</c:v>
                </c:pt>
                <c:pt idx="115">
                  <c:v>15</c:v>
                </c:pt>
                <c:pt idx="116">
                  <c:v>7</c:v>
                </c:pt>
                <c:pt idx="117">
                  <c:v>10</c:v>
                </c:pt>
                <c:pt idx="118">
                  <c:v>8</c:v>
                </c:pt>
                <c:pt idx="119">
                  <c:v>3</c:v>
                </c:pt>
                <c:pt idx="120">
                  <c:v>7</c:v>
                </c:pt>
                <c:pt idx="121">
                  <c:v>7</c:v>
                </c:pt>
                <c:pt idx="122">
                  <c:v>9</c:v>
                </c:pt>
                <c:pt idx="123">
                  <c:v>11</c:v>
                </c:pt>
                <c:pt idx="124">
                  <c:v>15</c:v>
                </c:pt>
                <c:pt idx="125">
                  <c:v>5</c:v>
                </c:pt>
                <c:pt idx="126">
                  <c:v>3</c:v>
                </c:pt>
                <c:pt idx="127">
                  <c:v>13</c:v>
                </c:pt>
                <c:pt idx="128">
                  <c:v>15</c:v>
                </c:pt>
                <c:pt idx="129">
                  <c:v>11</c:v>
                </c:pt>
                <c:pt idx="130">
                  <c:v>3</c:v>
                </c:pt>
                <c:pt idx="131">
                  <c:v>9</c:v>
                </c:pt>
                <c:pt idx="132">
                  <c:v>9</c:v>
                </c:pt>
                <c:pt idx="133">
                  <c:v>1</c:v>
                </c:pt>
                <c:pt idx="134">
                  <c:v>0</c:v>
                </c:pt>
                <c:pt idx="135">
                  <c:v>9</c:v>
                </c:pt>
                <c:pt idx="136">
                  <c:v>7</c:v>
                </c:pt>
                <c:pt idx="137">
                  <c:v>7</c:v>
                </c:pt>
                <c:pt idx="138">
                  <c:v>10</c:v>
                </c:pt>
                <c:pt idx="139">
                  <c:v>8</c:v>
                </c:pt>
                <c:pt idx="140">
                  <c:v>2</c:v>
                </c:pt>
                <c:pt idx="141">
                  <c:v>8</c:v>
                </c:pt>
                <c:pt idx="142">
                  <c:v>5</c:v>
                </c:pt>
                <c:pt idx="143">
                  <c:v>14</c:v>
                </c:pt>
                <c:pt idx="144">
                  <c:v>5</c:v>
                </c:pt>
                <c:pt idx="145">
                  <c:v>7</c:v>
                </c:pt>
                <c:pt idx="146">
                  <c:v>1</c:v>
                </c:pt>
                <c:pt idx="147">
                  <c:v>3</c:v>
                </c:pt>
                <c:pt idx="148">
                  <c:v>2</c:v>
                </c:pt>
                <c:pt idx="149">
                  <c:v>12</c:v>
                </c:pt>
                <c:pt idx="150">
                  <c:v>2</c:v>
                </c:pt>
                <c:pt idx="151">
                  <c:v>16</c:v>
                </c:pt>
                <c:pt idx="152">
                  <c:v>16</c:v>
                </c:pt>
                <c:pt idx="153">
                  <c:v>20</c:v>
                </c:pt>
                <c:pt idx="154">
                  <c:v>4</c:v>
                </c:pt>
                <c:pt idx="155">
                  <c:v>10</c:v>
                </c:pt>
                <c:pt idx="156">
                  <c:v>20</c:v>
                </c:pt>
                <c:pt idx="157">
                  <c:v>12</c:v>
                </c:pt>
                <c:pt idx="158">
                  <c:v>34</c:v>
                </c:pt>
                <c:pt idx="159">
                  <c:v>17</c:v>
                </c:pt>
                <c:pt idx="160">
                  <c:v>16</c:v>
                </c:pt>
                <c:pt idx="161">
                  <c:v>4</c:v>
                </c:pt>
                <c:pt idx="162">
                  <c:v>9</c:v>
                </c:pt>
                <c:pt idx="163">
                  <c:v>16</c:v>
                </c:pt>
                <c:pt idx="164">
                  <c:v>28</c:v>
                </c:pt>
                <c:pt idx="165">
                  <c:v>12</c:v>
                </c:pt>
                <c:pt idx="166">
                  <c:v>27</c:v>
                </c:pt>
                <c:pt idx="167">
                  <c:v>17</c:v>
                </c:pt>
                <c:pt idx="168">
                  <c:v>5</c:v>
                </c:pt>
                <c:pt idx="169">
                  <c:v>8</c:v>
                </c:pt>
                <c:pt idx="170">
                  <c:v>48</c:v>
                </c:pt>
                <c:pt idx="171">
                  <c:v>54</c:v>
                </c:pt>
                <c:pt idx="172">
                  <c:v>58</c:v>
                </c:pt>
                <c:pt idx="173">
                  <c:v>82</c:v>
                </c:pt>
                <c:pt idx="174">
                  <c:v>85</c:v>
                </c:pt>
                <c:pt idx="175">
                  <c:v>32</c:v>
                </c:pt>
                <c:pt idx="176">
                  <c:v>33</c:v>
                </c:pt>
                <c:pt idx="177">
                  <c:v>96</c:v>
                </c:pt>
                <c:pt idx="178">
                  <c:v>133</c:v>
                </c:pt>
                <c:pt idx="179">
                  <c:v>132</c:v>
                </c:pt>
                <c:pt idx="180">
                  <c:v>90</c:v>
                </c:pt>
                <c:pt idx="181">
                  <c:v>119</c:v>
                </c:pt>
                <c:pt idx="182">
                  <c:v>100</c:v>
                </c:pt>
                <c:pt idx="183">
                  <c:v>22</c:v>
                </c:pt>
                <c:pt idx="184">
                  <c:v>239</c:v>
                </c:pt>
                <c:pt idx="185">
                  <c:v>218</c:v>
                </c:pt>
                <c:pt idx="186">
                  <c:v>178</c:v>
                </c:pt>
                <c:pt idx="187">
                  <c:v>199</c:v>
                </c:pt>
                <c:pt idx="188">
                  <c:v>219</c:v>
                </c:pt>
                <c:pt idx="189">
                  <c:v>77</c:v>
                </c:pt>
                <c:pt idx="190">
                  <c:v>61</c:v>
                </c:pt>
                <c:pt idx="191">
                  <c:v>239</c:v>
                </c:pt>
                <c:pt idx="192">
                  <c:v>320</c:v>
                </c:pt>
                <c:pt idx="193">
                  <c:v>310</c:v>
                </c:pt>
                <c:pt idx="194">
                  <c:v>325</c:v>
                </c:pt>
                <c:pt idx="195">
                  <c:v>295</c:v>
                </c:pt>
                <c:pt idx="196">
                  <c:v>198</c:v>
                </c:pt>
                <c:pt idx="197">
                  <c:v>161</c:v>
                </c:pt>
                <c:pt idx="198">
                  <c:v>335</c:v>
                </c:pt>
                <c:pt idx="199">
                  <c:v>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BB-4EED-A644-DF008CDA966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300</c:v>
                </c:pt>
                <c:pt idx="196">
                  <c:v>301</c:v>
                </c:pt>
                <c:pt idx="197">
                  <c:v>309</c:v>
                </c:pt>
                <c:pt idx="198">
                  <c:v>322</c:v>
                </c:pt>
                <c:pt idx="199">
                  <c:v>330</c:v>
                </c:pt>
                <c:pt idx="200">
                  <c:v>335</c:v>
                </c:pt>
                <c:pt idx="201">
                  <c:v>339</c:v>
                </c:pt>
                <c:pt idx="202">
                  <c:v>341</c:v>
                </c:pt>
                <c:pt idx="203">
                  <c:v>349</c:v>
                </c:pt>
                <c:pt idx="204">
                  <c:v>359</c:v>
                </c:pt>
                <c:pt idx="205">
                  <c:v>367</c:v>
                </c:pt>
                <c:pt idx="206">
                  <c:v>372</c:v>
                </c:pt>
                <c:pt idx="207">
                  <c:v>377</c:v>
                </c:pt>
                <c:pt idx="208">
                  <c:v>383</c:v>
                </c:pt>
                <c:pt idx="209">
                  <c:v>391</c:v>
                </c:pt>
                <c:pt idx="210">
                  <c:v>399</c:v>
                </c:pt>
                <c:pt idx="211">
                  <c:v>407</c:v>
                </c:pt>
                <c:pt idx="212">
                  <c:v>414</c:v>
                </c:pt>
                <c:pt idx="213">
                  <c:v>420</c:v>
                </c:pt>
                <c:pt idx="214">
                  <c:v>428</c:v>
                </c:pt>
                <c:pt idx="215">
                  <c:v>436</c:v>
                </c:pt>
                <c:pt idx="216">
                  <c:v>444</c:v>
                </c:pt>
                <c:pt idx="217">
                  <c:v>452</c:v>
                </c:pt>
                <c:pt idx="218">
                  <c:v>4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BB-4EED-A644-DF008CDA966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311</c:v>
                </c:pt>
                <c:pt idx="196">
                  <c:v>319</c:v>
                </c:pt>
                <c:pt idx="197">
                  <c:v>332</c:v>
                </c:pt>
                <c:pt idx="198">
                  <c:v>348</c:v>
                </c:pt>
                <c:pt idx="199">
                  <c:v>362</c:v>
                </c:pt>
                <c:pt idx="200">
                  <c:v>373</c:v>
                </c:pt>
                <c:pt idx="201">
                  <c:v>384</c:v>
                </c:pt>
                <c:pt idx="202">
                  <c:v>395</c:v>
                </c:pt>
                <c:pt idx="203">
                  <c:v>410</c:v>
                </c:pt>
                <c:pt idx="204">
                  <c:v>426</c:v>
                </c:pt>
                <c:pt idx="205">
                  <c:v>442</c:v>
                </c:pt>
                <c:pt idx="206">
                  <c:v>456</c:v>
                </c:pt>
                <c:pt idx="207">
                  <c:v>470</c:v>
                </c:pt>
                <c:pt idx="208">
                  <c:v>486</c:v>
                </c:pt>
                <c:pt idx="209">
                  <c:v>503</c:v>
                </c:pt>
                <c:pt idx="210">
                  <c:v>522</c:v>
                </c:pt>
                <c:pt idx="211">
                  <c:v>540</c:v>
                </c:pt>
                <c:pt idx="212">
                  <c:v>558</c:v>
                </c:pt>
                <c:pt idx="213">
                  <c:v>576</c:v>
                </c:pt>
                <c:pt idx="214">
                  <c:v>596</c:v>
                </c:pt>
                <c:pt idx="215">
                  <c:v>617</c:v>
                </c:pt>
                <c:pt idx="216">
                  <c:v>638</c:v>
                </c:pt>
                <c:pt idx="217">
                  <c:v>660</c:v>
                </c:pt>
                <c:pt idx="218">
                  <c:v>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B-4EED-A644-DF008CDA966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322</c:v>
                </c:pt>
                <c:pt idx="196">
                  <c:v>336</c:v>
                </c:pt>
                <c:pt idx="197">
                  <c:v>354</c:v>
                </c:pt>
                <c:pt idx="198">
                  <c:v>374</c:v>
                </c:pt>
                <c:pt idx="199">
                  <c:v>393</c:v>
                </c:pt>
                <c:pt idx="200">
                  <c:v>413</c:v>
                </c:pt>
                <c:pt idx="201">
                  <c:v>432</c:v>
                </c:pt>
                <c:pt idx="202">
                  <c:v>452</c:v>
                </c:pt>
                <c:pt idx="203">
                  <c:v>476</c:v>
                </c:pt>
                <c:pt idx="204">
                  <c:v>500</c:v>
                </c:pt>
                <c:pt idx="205">
                  <c:v>526</c:v>
                </c:pt>
                <c:pt idx="206">
                  <c:v>551</c:v>
                </c:pt>
                <c:pt idx="207">
                  <c:v>578</c:v>
                </c:pt>
                <c:pt idx="208">
                  <c:v>606</c:v>
                </c:pt>
                <c:pt idx="209">
                  <c:v>637</c:v>
                </c:pt>
                <c:pt idx="210">
                  <c:v>669</c:v>
                </c:pt>
                <c:pt idx="211">
                  <c:v>702</c:v>
                </c:pt>
                <c:pt idx="212">
                  <c:v>736</c:v>
                </c:pt>
                <c:pt idx="213">
                  <c:v>772</c:v>
                </c:pt>
                <c:pt idx="214">
                  <c:v>811</c:v>
                </c:pt>
                <c:pt idx="215">
                  <c:v>851</c:v>
                </c:pt>
                <c:pt idx="216">
                  <c:v>893</c:v>
                </c:pt>
                <c:pt idx="217">
                  <c:v>937</c:v>
                </c:pt>
                <c:pt idx="218">
                  <c:v>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BB-4EED-A644-DF008CDA966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333</c:v>
                </c:pt>
                <c:pt idx="196">
                  <c:v>354</c:v>
                </c:pt>
                <c:pt idx="197">
                  <c:v>377</c:v>
                </c:pt>
                <c:pt idx="198">
                  <c:v>400</c:v>
                </c:pt>
                <c:pt idx="199">
                  <c:v>426</c:v>
                </c:pt>
                <c:pt idx="200">
                  <c:v>453</c:v>
                </c:pt>
                <c:pt idx="201">
                  <c:v>483</c:v>
                </c:pt>
                <c:pt idx="202">
                  <c:v>514</c:v>
                </c:pt>
                <c:pt idx="203">
                  <c:v>546</c:v>
                </c:pt>
                <c:pt idx="204">
                  <c:v>581</c:v>
                </c:pt>
                <c:pt idx="205">
                  <c:v>618</c:v>
                </c:pt>
                <c:pt idx="206">
                  <c:v>658</c:v>
                </c:pt>
                <c:pt idx="207">
                  <c:v>700</c:v>
                </c:pt>
                <c:pt idx="208">
                  <c:v>745</c:v>
                </c:pt>
                <c:pt idx="209">
                  <c:v>792</c:v>
                </c:pt>
                <c:pt idx="210">
                  <c:v>843</c:v>
                </c:pt>
                <c:pt idx="211">
                  <c:v>897</c:v>
                </c:pt>
                <c:pt idx="212">
                  <c:v>954</c:v>
                </c:pt>
                <c:pt idx="213">
                  <c:v>1015</c:v>
                </c:pt>
                <c:pt idx="214">
                  <c:v>1080</c:v>
                </c:pt>
                <c:pt idx="215">
                  <c:v>1148</c:v>
                </c:pt>
                <c:pt idx="216">
                  <c:v>1222</c:v>
                </c:pt>
                <c:pt idx="217">
                  <c:v>1300</c:v>
                </c:pt>
                <c:pt idx="218">
                  <c:v>1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96-4C9B-A802-3CE62B6AE08A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36.160153319050075</c:v>
                </c:pt>
                <c:pt idx="1">
                  <c:v>35.482150444317888</c:v>
                </c:pt>
                <c:pt idx="2">
                  <c:v>35.256149486073824</c:v>
                </c:pt>
                <c:pt idx="3">
                  <c:v>36.386154277294139</c:v>
                </c:pt>
                <c:pt idx="4">
                  <c:v>34.352145653097566</c:v>
                </c:pt>
                <c:pt idx="5">
                  <c:v>36.160153319050075</c:v>
                </c:pt>
                <c:pt idx="6">
                  <c:v>31.414133195924752</c:v>
                </c:pt>
                <c:pt idx="7">
                  <c:v>26.668113072799429</c:v>
                </c:pt>
                <c:pt idx="8">
                  <c:v>27.120114989287554</c:v>
                </c:pt>
                <c:pt idx="9">
                  <c:v>27.572116905775683</c:v>
                </c:pt>
                <c:pt idx="10">
                  <c:v>23.278098699138482</c:v>
                </c:pt>
                <c:pt idx="11">
                  <c:v>22.826096782650357</c:v>
                </c:pt>
                <c:pt idx="12">
                  <c:v>20.114085283721604</c:v>
                </c:pt>
                <c:pt idx="13">
                  <c:v>20.792088158453794</c:v>
                </c:pt>
                <c:pt idx="14">
                  <c:v>20.566087200209729</c:v>
                </c:pt>
                <c:pt idx="15">
                  <c:v>17.628074743036912</c:v>
                </c:pt>
                <c:pt idx="16">
                  <c:v>13.334056536399714</c:v>
                </c:pt>
                <c:pt idx="17">
                  <c:v>12.882054619911589</c:v>
                </c:pt>
                <c:pt idx="18">
                  <c:v>12.882054619911589</c:v>
                </c:pt>
                <c:pt idx="19">
                  <c:v>14.012059411131904</c:v>
                </c:pt>
                <c:pt idx="20">
                  <c:v>11.978050786935336</c:v>
                </c:pt>
                <c:pt idx="21">
                  <c:v>9.2660392880065814</c:v>
                </c:pt>
                <c:pt idx="22">
                  <c:v>9.0400383297625186</c:v>
                </c:pt>
                <c:pt idx="23">
                  <c:v>8.8140373715184559</c:v>
                </c:pt>
                <c:pt idx="24">
                  <c:v>8.3620354550303286</c:v>
                </c:pt>
                <c:pt idx="25">
                  <c:v>8.5880364132743914</c:v>
                </c:pt>
                <c:pt idx="26">
                  <c:v>8.1360344967862659</c:v>
                </c:pt>
                <c:pt idx="27">
                  <c:v>7.4580316220540785</c:v>
                </c:pt>
                <c:pt idx="28">
                  <c:v>7.4580316220540785</c:v>
                </c:pt>
                <c:pt idx="29">
                  <c:v>7.0060297055659522</c:v>
                </c:pt>
                <c:pt idx="30">
                  <c:v>7.6840325802981395</c:v>
                </c:pt>
                <c:pt idx="31">
                  <c:v>8.1360344967862659</c:v>
                </c:pt>
                <c:pt idx="32">
                  <c:v>8.1360344967862659</c:v>
                </c:pt>
                <c:pt idx="33">
                  <c:v>7.2320306638100149</c:v>
                </c:pt>
                <c:pt idx="34">
                  <c:v>7.0060297055659522</c:v>
                </c:pt>
                <c:pt idx="35">
                  <c:v>7.0060297055659522</c:v>
                </c:pt>
                <c:pt idx="36">
                  <c:v>7.0060297055659522</c:v>
                </c:pt>
                <c:pt idx="37">
                  <c:v>7.9100335385422031</c:v>
                </c:pt>
                <c:pt idx="38">
                  <c:v>7.9100335385422031</c:v>
                </c:pt>
                <c:pt idx="39">
                  <c:v>8.3620354550303286</c:v>
                </c:pt>
                <c:pt idx="40">
                  <c:v>8.3620354550303286</c:v>
                </c:pt>
                <c:pt idx="41">
                  <c:v>8.3620354550303286</c:v>
                </c:pt>
                <c:pt idx="42">
                  <c:v>8.1360344967862659</c:v>
                </c:pt>
                <c:pt idx="43">
                  <c:v>8.8140373715184559</c:v>
                </c:pt>
                <c:pt idx="44">
                  <c:v>8.3620354550303286</c:v>
                </c:pt>
                <c:pt idx="45">
                  <c:v>8.3620354550303286</c:v>
                </c:pt>
                <c:pt idx="46">
                  <c:v>7.6840325802981395</c:v>
                </c:pt>
                <c:pt idx="47">
                  <c:v>8.1360344967862659</c:v>
                </c:pt>
                <c:pt idx="48">
                  <c:v>7.9100335385422031</c:v>
                </c:pt>
                <c:pt idx="49">
                  <c:v>9.2660392880065814</c:v>
                </c:pt>
                <c:pt idx="50">
                  <c:v>9.4920402462506441</c:v>
                </c:pt>
                <c:pt idx="51">
                  <c:v>9.2660392880065814</c:v>
                </c:pt>
                <c:pt idx="52">
                  <c:v>10.170043120982834</c:v>
                </c:pt>
                <c:pt idx="53">
                  <c:v>10.396044079226897</c:v>
                </c:pt>
                <c:pt idx="54">
                  <c:v>11.300047912203148</c:v>
                </c:pt>
                <c:pt idx="55">
                  <c:v>11.300047912203148</c:v>
                </c:pt>
                <c:pt idx="56">
                  <c:v>12.882054619911589</c:v>
                </c:pt>
                <c:pt idx="57">
                  <c:v>12.656053661667526</c:v>
                </c:pt>
                <c:pt idx="58">
                  <c:v>13.334056536399714</c:v>
                </c:pt>
                <c:pt idx="59">
                  <c:v>11.526048870447211</c:v>
                </c:pt>
                <c:pt idx="60">
                  <c:v>11.526048870447211</c:v>
                </c:pt>
                <c:pt idx="61">
                  <c:v>10.62204503747096</c:v>
                </c:pt>
                <c:pt idx="62">
                  <c:v>10.848045995715021</c:v>
                </c:pt>
                <c:pt idx="63">
                  <c:v>7.9100335385422031</c:v>
                </c:pt>
                <c:pt idx="64">
                  <c:v>7.0060297055659522</c:v>
                </c:pt>
                <c:pt idx="65">
                  <c:v>7.0060297055659522</c:v>
                </c:pt>
                <c:pt idx="66">
                  <c:v>8.5880364132743914</c:v>
                </c:pt>
                <c:pt idx="67">
                  <c:v>8.3620354550303286</c:v>
                </c:pt>
                <c:pt idx="68">
                  <c:v>8.3620354550303286</c:v>
                </c:pt>
                <c:pt idx="69">
                  <c:v>8.1360344967862659</c:v>
                </c:pt>
                <c:pt idx="70">
                  <c:v>8.8140373715184559</c:v>
                </c:pt>
                <c:pt idx="71">
                  <c:v>8.5880364132743914</c:v>
                </c:pt>
                <c:pt idx="72">
                  <c:v>8.5880364132743914</c:v>
                </c:pt>
                <c:pt idx="73">
                  <c:v>7.6840325802981395</c:v>
                </c:pt>
                <c:pt idx="74">
                  <c:v>9.0400383297625186</c:v>
                </c:pt>
                <c:pt idx="75">
                  <c:v>12.430052703423463</c:v>
                </c:pt>
                <c:pt idx="76">
                  <c:v>15.368065160596279</c:v>
                </c:pt>
                <c:pt idx="77">
                  <c:v>19.210081450745353</c:v>
                </c:pt>
                <c:pt idx="78">
                  <c:v>21.696091991430041</c:v>
                </c:pt>
                <c:pt idx="79">
                  <c:v>21.47009103318598</c:v>
                </c:pt>
                <c:pt idx="80">
                  <c:v>21.922092949674106</c:v>
                </c:pt>
                <c:pt idx="81">
                  <c:v>21.018089116697855</c:v>
                </c:pt>
                <c:pt idx="82">
                  <c:v>16.950071868304722</c:v>
                </c:pt>
                <c:pt idx="83">
                  <c:v>16.046068035328467</c:v>
                </c:pt>
                <c:pt idx="84">
                  <c:v>14.012059411131904</c:v>
                </c:pt>
                <c:pt idx="85">
                  <c:v>12.430052703423463</c:v>
                </c:pt>
                <c:pt idx="86">
                  <c:v>12.656053661667526</c:v>
                </c:pt>
                <c:pt idx="87">
                  <c:v>12.882054619911589</c:v>
                </c:pt>
                <c:pt idx="88">
                  <c:v>13.108055578155652</c:v>
                </c:pt>
                <c:pt idx="89">
                  <c:v>14.46406132762003</c:v>
                </c:pt>
                <c:pt idx="90">
                  <c:v>12.882054619911589</c:v>
                </c:pt>
                <c:pt idx="91">
                  <c:v>11.526048870447211</c:v>
                </c:pt>
                <c:pt idx="92">
                  <c:v>12.430052703423463</c:v>
                </c:pt>
                <c:pt idx="93">
                  <c:v>13.560057494643777</c:v>
                </c:pt>
                <c:pt idx="94">
                  <c:v>12.882054619911589</c:v>
                </c:pt>
                <c:pt idx="95">
                  <c:v>12.882054619911589</c:v>
                </c:pt>
                <c:pt idx="96">
                  <c:v>14.238060369375967</c:v>
                </c:pt>
                <c:pt idx="97">
                  <c:v>16.046068035328467</c:v>
                </c:pt>
                <c:pt idx="98">
                  <c:v>16.498069951816596</c:v>
                </c:pt>
                <c:pt idx="99">
                  <c:v>14.690062285864093</c:v>
                </c:pt>
                <c:pt idx="100">
                  <c:v>13.334056536399714</c:v>
                </c:pt>
                <c:pt idx="101">
                  <c:v>14.238060369375967</c:v>
                </c:pt>
                <c:pt idx="102">
                  <c:v>13.786058452887842</c:v>
                </c:pt>
                <c:pt idx="103">
                  <c:v>10.848045995715021</c:v>
                </c:pt>
                <c:pt idx="104">
                  <c:v>9.4920402462506441</c:v>
                </c:pt>
                <c:pt idx="105">
                  <c:v>8.5880364132743914</c:v>
                </c:pt>
                <c:pt idx="106">
                  <c:v>9.4920402462506441</c:v>
                </c:pt>
                <c:pt idx="107">
                  <c:v>9.7180412044947069</c:v>
                </c:pt>
                <c:pt idx="108">
                  <c:v>9.4920402462506441</c:v>
                </c:pt>
                <c:pt idx="109">
                  <c:v>9.7180412044947069</c:v>
                </c:pt>
                <c:pt idx="110">
                  <c:v>11.526048870447211</c:v>
                </c:pt>
                <c:pt idx="111">
                  <c:v>10.62204503747096</c:v>
                </c:pt>
                <c:pt idx="112">
                  <c:v>12.204051745179399</c:v>
                </c:pt>
                <c:pt idx="113">
                  <c:v>11.752049828691273</c:v>
                </c:pt>
                <c:pt idx="114">
                  <c:v>11.074046953959085</c:v>
                </c:pt>
                <c:pt idx="115">
                  <c:v>9.4920402462506441</c:v>
                </c:pt>
                <c:pt idx="116">
                  <c:v>9.7180412044947069</c:v>
                </c:pt>
                <c:pt idx="117">
                  <c:v>8.3620354550303286</c:v>
                </c:pt>
                <c:pt idx="118">
                  <c:v>9.9440421627387696</c:v>
                </c:pt>
                <c:pt idx="119">
                  <c:v>7.2320306638100149</c:v>
                </c:pt>
                <c:pt idx="120">
                  <c:v>9.7180412044947069</c:v>
                </c:pt>
                <c:pt idx="121">
                  <c:v>11.752049828691273</c:v>
                </c:pt>
                <c:pt idx="122">
                  <c:v>16.046068035328467</c:v>
                </c:pt>
                <c:pt idx="123">
                  <c:v>16.272068993572532</c:v>
                </c:pt>
                <c:pt idx="124">
                  <c:v>18.080076659525037</c:v>
                </c:pt>
                <c:pt idx="125">
                  <c:v>19.888084325477539</c:v>
                </c:pt>
                <c:pt idx="126">
                  <c:v>22.14809390791817</c:v>
                </c:pt>
                <c:pt idx="127">
                  <c:v>26.216111156311303</c:v>
                </c:pt>
                <c:pt idx="128">
                  <c:v>26.442112114555364</c:v>
                </c:pt>
                <c:pt idx="129">
                  <c:v>25.538108281579113</c:v>
                </c:pt>
                <c:pt idx="130">
                  <c:v>25.538108281579113</c:v>
                </c:pt>
                <c:pt idx="131">
                  <c:v>25.312107323335052</c:v>
                </c:pt>
                <c:pt idx="132">
                  <c:v>24.408103490358798</c:v>
                </c:pt>
                <c:pt idx="133">
                  <c:v>28.024118822263809</c:v>
                </c:pt>
                <c:pt idx="134">
                  <c:v>23.052097740894421</c:v>
                </c:pt>
                <c:pt idx="135">
                  <c:v>25.312107323335052</c:v>
                </c:pt>
                <c:pt idx="136">
                  <c:v>25.538108281579113</c:v>
                </c:pt>
                <c:pt idx="137">
                  <c:v>25.764109239823178</c:v>
                </c:pt>
                <c:pt idx="138">
                  <c:v>25.538108281579113</c:v>
                </c:pt>
                <c:pt idx="139">
                  <c:v>32.770138945389128</c:v>
                </c:pt>
                <c:pt idx="140">
                  <c:v>38.646163859734763</c:v>
                </c:pt>
                <c:pt idx="141">
                  <c:v>49.042207938961667</c:v>
                </c:pt>
                <c:pt idx="142">
                  <c:v>61.472260642385116</c:v>
                </c:pt>
                <c:pt idx="143">
                  <c:v>76.840325802981411</c:v>
                </c:pt>
                <c:pt idx="144">
                  <c:v>82.942351675571103</c:v>
                </c:pt>
                <c:pt idx="145">
                  <c:v>88.592375631672681</c:v>
                </c:pt>
                <c:pt idx="146">
                  <c:v>99.440421627387707</c:v>
                </c:pt>
                <c:pt idx="147">
                  <c:v>117.29449732866867</c:v>
                </c:pt>
                <c:pt idx="148">
                  <c:v>134.01856823872933</c:v>
                </c:pt>
                <c:pt idx="149">
                  <c:v>135.82657590468185</c:v>
                </c:pt>
                <c:pt idx="150">
                  <c:v>143.51060848497997</c:v>
                </c:pt>
                <c:pt idx="151">
                  <c:v>158.87867364557624</c:v>
                </c:pt>
                <c:pt idx="152">
                  <c:v>156.39266310489157</c:v>
                </c:pt>
                <c:pt idx="153">
                  <c:v>188.71080013379256</c:v>
                </c:pt>
                <c:pt idx="154">
                  <c:v>207.92088158453791</c:v>
                </c:pt>
                <c:pt idx="155">
                  <c:v>218.31692566376481</c:v>
                </c:pt>
                <c:pt idx="156">
                  <c:v>242.9510301123677</c:v>
                </c:pt>
                <c:pt idx="157">
                  <c:v>265.55112593677399</c:v>
                </c:pt>
                <c:pt idx="158">
                  <c:v>260.35310389716051</c:v>
                </c:pt>
                <c:pt idx="159">
                  <c:v>269.16714126867896</c:v>
                </c:pt>
                <c:pt idx="160">
                  <c:v>269.16714126867896</c:v>
                </c:pt>
                <c:pt idx="161">
                  <c:v>292.21923900957341</c:v>
                </c:pt>
                <c:pt idx="162">
                  <c:v>322.05136549778967</c:v>
                </c:pt>
                <c:pt idx="163">
                  <c:v>350.52748623654168</c:v>
                </c:pt>
                <c:pt idx="164">
                  <c:v>367.70355906309044</c:v>
                </c:pt>
                <c:pt idx="165">
                  <c:v>395.04967501062208</c:v>
                </c:pt>
                <c:pt idx="166">
                  <c:v>417.64977083502833</c:v>
                </c:pt>
                <c:pt idx="167">
                  <c:v>439.34586282645836</c:v>
                </c:pt>
                <c:pt idx="168">
                  <c:v>483.190048725806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96-4C9B-A802-3CE62B6AE08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356.62951210913133</c:v>
                </c:pt>
                <c:pt idx="165" formatCode="0">
                  <c:v>368.15556097957852</c:v>
                </c:pt>
                <c:pt idx="166" formatCode="0">
                  <c:v>378.55160505880548</c:v>
                </c:pt>
                <c:pt idx="167" formatCode="0">
                  <c:v>388.49564722154423</c:v>
                </c:pt>
                <c:pt idx="168" formatCode="0">
                  <c:v>396.8576826765746</c:v>
                </c:pt>
                <c:pt idx="169" formatCode="0">
                  <c:v>402.95970854916425</c:v>
                </c:pt>
                <c:pt idx="170" formatCode="0">
                  <c:v>406.34972292282521</c:v>
                </c:pt>
                <c:pt idx="171" formatCode="0">
                  <c:v>412.22574783717084</c:v>
                </c:pt>
                <c:pt idx="172" formatCode="0">
                  <c:v>421.03978520868924</c:v>
                </c:pt>
                <c:pt idx="173" formatCode="0">
                  <c:v>429.85382258020775</c:v>
                </c:pt>
                <c:pt idx="174" formatCode="0">
                  <c:v>437.98985707699399</c:v>
                </c:pt>
                <c:pt idx="175" formatCode="0">
                  <c:v>445.67388965729219</c:v>
                </c:pt>
                <c:pt idx="176" formatCode="0">
                  <c:v>453.13192127934622</c:v>
                </c:pt>
                <c:pt idx="177" formatCode="0">
                  <c:v>461.26795577613245</c:v>
                </c:pt>
                <c:pt idx="178" formatCode="0">
                  <c:v>470.30799410589503</c:v>
                </c:pt>
                <c:pt idx="179" formatCode="0">
                  <c:v>479.34803243565756</c:v>
                </c:pt>
                <c:pt idx="180" formatCode="0">
                  <c:v>488.16206980717601</c:v>
                </c:pt>
                <c:pt idx="181" formatCode="0">
                  <c:v>496.52410526220632</c:v>
                </c:pt>
                <c:pt idx="182" formatCode="0">
                  <c:v>505.33814263372477</c:v>
                </c:pt>
                <c:pt idx="183" formatCode="0">
                  <c:v>514.60418192173131</c:v>
                </c:pt>
                <c:pt idx="184" formatCode="0">
                  <c:v>524.09622216798198</c:v>
                </c:pt>
                <c:pt idx="185" formatCode="0">
                  <c:v>533.81426337247672</c:v>
                </c:pt>
                <c:pt idx="186" formatCode="0">
                  <c:v>543.30630361872738</c:v>
                </c:pt>
                <c:pt idx="187" formatCode="0">
                  <c:v>553.02434482322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96-4C9B-A802-3CE62B6AE08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358.66352073332791</c:v>
                </c:pt>
                <c:pt idx="165" formatCode="0">
                  <c:v>373.353583019192</c:v>
                </c:pt>
                <c:pt idx="166" formatCode="0">
                  <c:v>387.81764434681202</c:v>
                </c:pt>
                <c:pt idx="167" formatCode="0">
                  <c:v>402.5077066326761</c:v>
                </c:pt>
                <c:pt idx="168" formatCode="0">
                  <c:v>416.7457670020521</c:v>
                </c:pt>
                <c:pt idx="169" formatCode="0">
                  <c:v>429.62782162196368</c:v>
                </c:pt>
                <c:pt idx="170" formatCode="0">
                  <c:v>441.37987145065495</c:v>
                </c:pt>
                <c:pt idx="171" formatCode="0">
                  <c:v>454.93992894529873</c:v>
                </c:pt>
                <c:pt idx="172" formatCode="0">
                  <c:v>471.43799889711534</c:v>
                </c:pt>
                <c:pt idx="173" formatCode="0">
                  <c:v>488.38807076542003</c:v>
                </c:pt>
                <c:pt idx="174" formatCode="0">
                  <c:v>505.33814263372477</c:v>
                </c:pt>
                <c:pt idx="175" formatCode="0">
                  <c:v>522.28821450202952</c:v>
                </c:pt>
                <c:pt idx="176" formatCode="0">
                  <c:v>539.91628924506631</c:v>
                </c:pt>
                <c:pt idx="177" formatCode="0">
                  <c:v>558.22236686283543</c:v>
                </c:pt>
                <c:pt idx="178" formatCode="0">
                  <c:v>577.88445023006898</c:v>
                </c:pt>
                <c:pt idx="179" formatCode="0">
                  <c:v>598.22453647203463</c:v>
                </c:pt>
                <c:pt idx="180" formatCode="0">
                  <c:v>618.79062367224435</c:v>
                </c:pt>
                <c:pt idx="181" formatCode="0">
                  <c:v>639.80871278894222</c:v>
                </c:pt>
                <c:pt idx="182" formatCode="0">
                  <c:v>661.5048047803723</c:v>
                </c:pt>
                <c:pt idx="183" formatCode="0">
                  <c:v>684.10490060477855</c:v>
                </c:pt>
                <c:pt idx="184" formatCode="0">
                  <c:v>707.83500122040516</c:v>
                </c:pt>
                <c:pt idx="185" formatCode="0">
                  <c:v>732.24310471076399</c:v>
                </c:pt>
                <c:pt idx="186" formatCode="0">
                  <c:v>757.32921107585491</c:v>
                </c:pt>
                <c:pt idx="187" formatCode="0">
                  <c:v>783.31932127392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C96-4C9B-A802-3CE62B6AE08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360.6975293575245</c:v>
                </c:pt>
                <c:pt idx="165" formatCode="0">
                  <c:v>378.55160505880548</c:v>
                </c:pt>
                <c:pt idx="166" formatCode="0">
                  <c:v>397.08368363481861</c:v>
                </c:pt>
                <c:pt idx="167" formatCode="0">
                  <c:v>416.51976604380798</c:v>
                </c:pt>
                <c:pt idx="168" formatCode="0">
                  <c:v>436.4078503692856</c:v>
                </c:pt>
                <c:pt idx="169" formatCode="0">
                  <c:v>456.2959346947631</c:v>
                </c:pt>
                <c:pt idx="170" formatCode="0">
                  <c:v>476.63602093672881</c:v>
                </c:pt>
                <c:pt idx="171" formatCode="0">
                  <c:v>498.55811388640291</c:v>
                </c:pt>
                <c:pt idx="172" formatCode="0">
                  <c:v>523.87022120973791</c:v>
                </c:pt>
                <c:pt idx="173" formatCode="0">
                  <c:v>550.31233332429326</c:v>
                </c:pt>
                <c:pt idx="174" formatCode="0">
                  <c:v>577.65844927182491</c:v>
                </c:pt>
                <c:pt idx="175" formatCode="0">
                  <c:v>606.13457001057691</c:v>
                </c:pt>
                <c:pt idx="176" formatCode="0">
                  <c:v>636.19269745703718</c:v>
                </c:pt>
                <c:pt idx="177" formatCode="0">
                  <c:v>667.606830652962</c:v>
                </c:pt>
                <c:pt idx="178" formatCode="0">
                  <c:v>701.05497247308335</c:v>
                </c:pt>
                <c:pt idx="179" formatCode="0">
                  <c:v>735.85912004266891</c:v>
                </c:pt>
                <c:pt idx="180" formatCode="0">
                  <c:v>772.24527431996319</c:v>
                </c:pt>
                <c:pt idx="181" formatCode="0">
                  <c:v>810.4394362632097</c:v>
                </c:pt>
                <c:pt idx="182" formatCode="0">
                  <c:v>850.4416058724089</c:v>
                </c:pt>
                <c:pt idx="183" formatCode="0">
                  <c:v>892.47778410580463</c:v>
                </c:pt>
                <c:pt idx="184" formatCode="0">
                  <c:v>936.77397192164108</c:v>
                </c:pt>
                <c:pt idx="185" formatCode="0">
                  <c:v>983.10416836167383</c:v>
                </c:pt>
                <c:pt idx="186" formatCode="0">
                  <c:v>1031.9203753423915</c:v>
                </c:pt>
                <c:pt idx="187" formatCode="0">
                  <c:v>1082.7705909473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C96-4C9B-A802-3CE62B6AE08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362.73153798172103</c:v>
                </c:pt>
                <c:pt idx="165" formatCode="0">
                  <c:v>383.97562805666297</c:v>
                </c:pt>
                <c:pt idx="166" formatCode="0">
                  <c:v>406.57572388106922</c:v>
                </c:pt>
                <c:pt idx="167" formatCode="0">
                  <c:v>430.75782641318398</c:v>
                </c:pt>
                <c:pt idx="168" formatCode="0">
                  <c:v>456.52193565300718</c:v>
                </c:pt>
                <c:pt idx="169" formatCode="0">
                  <c:v>483.86805160053876</c:v>
                </c:pt>
                <c:pt idx="170" formatCode="0">
                  <c:v>513.24817617226699</c:v>
                </c:pt>
                <c:pt idx="171" formatCode="0">
                  <c:v>544.21030745170356</c:v>
                </c:pt>
                <c:pt idx="172" formatCode="0">
                  <c:v>579.01445502128934</c:v>
                </c:pt>
                <c:pt idx="173" formatCode="0">
                  <c:v>615.85261121507153</c:v>
                </c:pt>
                <c:pt idx="174" formatCode="0">
                  <c:v>655.17677794953852</c:v>
                </c:pt>
                <c:pt idx="175" formatCode="0">
                  <c:v>697.21295618293425</c:v>
                </c:pt>
                <c:pt idx="176" formatCode="0">
                  <c:v>741.96114591525873</c:v>
                </c:pt>
                <c:pt idx="177" formatCode="0">
                  <c:v>789.64734810475602</c:v>
                </c:pt>
                <c:pt idx="178" formatCode="0">
                  <c:v>840.27156275142613</c:v>
                </c:pt>
                <c:pt idx="179" formatCode="0">
                  <c:v>893.83378985526895</c:v>
                </c:pt>
                <c:pt idx="180" formatCode="0">
                  <c:v>951.01203229101691</c:v>
                </c:pt>
                <c:pt idx="181" formatCode="0">
                  <c:v>1011.8062900586698</c:v>
                </c:pt>
                <c:pt idx="182" formatCode="0">
                  <c:v>1076.4425641164719</c:v>
                </c:pt>
                <c:pt idx="183" formatCode="0">
                  <c:v>1145.1468554226669</c:v>
                </c:pt>
                <c:pt idx="184" formatCode="0">
                  <c:v>1218.1451649354992</c:v>
                </c:pt>
                <c:pt idx="185" formatCode="0">
                  <c:v>1295.6634936132129</c:v>
                </c:pt>
                <c:pt idx="186" formatCode="0">
                  <c:v>1378.37984433054</c:v>
                </c:pt>
                <c:pt idx="187" formatCode="0">
                  <c:v>1466.2942170874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39</c:v>
                </c:pt>
                <c:pt idx="1">
                  <c:v>15</c:v>
                </c:pt>
                <c:pt idx="2">
                  <c:v>31</c:v>
                </c:pt>
                <c:pt idx="3">
                  <c:v>38</c:v>
                </c:pt>
                <c:pt idx="4">
                  <c:v>45</c:v>
                </c:pt>
                <c:pt idx="5">
                  <c:v>25</c:v>
                </c:pt>
                <c:pt idx="6">
                  <c:v>40</c:v>
                </c:pt>
                <c:pt idx="7">
                  <c:v>11</c:v>
                </c:pt>
                <c:pt idx="8">
                  <c:v>23</c:v>
                </c:pt>
                <c:pt idx="9">
                  <c:v>17</c:v>
                </c:pt>
                <c:pt idx="10">
                  <c:v>27</c:v>
                </c:pt>
                <c:pt idx="11">
                  <c:v>29</c:v>
                </c:pt>
                <c:pt idx="12">
                  <c:v>32</c:v>
                </c:pt>
                <c:pt idx="13">
                  <c:v>23</c:v>
                </c:pt>
                <c:pt idx="14">
                  <c:v>10</c:v>
                </c:pt>
                <c:pt idx="15">
                  <c:v>16</c:v>
                </c:pt>
                <c:pt idx="16">
                  <c:v>25</c:v>
                </c:pt>
                <c:pt idx="17">
                  <c:v>29</c:v>
                </c:pt>
                <c:pt idx="18">
                  <c:v>8</c:v>
                </c:pt>
                <c:pt idx="19">
                  <c:v>21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9</c:v>
                </c:pt>
                <c:pt idx="24">
                  <c:v>12</c:v>
                </c:pt>
                <c:pt idx="25">
                  <c:v>13</c:v>
                </c:pt>
                <c:pt idx="26">
                  <c:v>9</c:v>
                </c:pt>
                <c:pt idx="27">
                  <c:v>13</c:v>
                </c:pt>
                <c:pt idx="28">
                  <c:v>1</c:v>
                </c:pt>
                <c:pt idx="29">
                  <c:v>3</c:v>
                </c:pt>
                <c:pt idx="30">
                  <c:v>6</c:v>
                </c:pt>
                <c:pt idx="31">
                  <c:v>10</c:v>
                </c:pt>
                <c:pt idx="32">
                  <c:v>8</c:v>
                </c:pt>
                <c:pt idx="33">
                  <c:v>8</c:v>
                </c:pt>
                <c:pt idx="34">
                  <c:v>7</c:v>
                </c:pt>
                <c:pt idx="35">
                  <c:v>2</c:v>
                </c:pt>
                <c:pt idx="36">
                  <c:v>0</c:v>
                </c:pt>
                <c:pt idx="37">
                  <c:v>2</c:v>
                </c:pt>
                <c:pt idx="38">
                  <c:v>4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0</c:v>
                </c:pt>
                <c:pt idx="44">
                  <c:v>5</c:v>
                </c:pt>
                <c:pt idx="45">
                  <c:v>4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3</c:v>
                </c:pt>
                <c:pt idx="59">
                  <c:v>0</c:v>
                </c:pt>
                <c:pt idx="60">
                  <c:v>0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1</c:v>
                </c:pt>
                <c:pt idx="65">
                  <c:v>3</c:v>
                </c:pt>
                <c:pt idx="66">
                  <c:v>2</c:v>
                </c:pt>
                <c:pt idx="67">
                  <c:v>2</c:v>
                </c:pt>
                <c:pt idx="68">
                  <c:v>13</c:v>
                </c:pt>
                <c:pt idx="69">
                  <c:v>3</c:v>
                </c:pt>
                <c:pt idx="70">
                  <c:v>3</c:v>
                </c:pt>
                <c:pt idx="71">
                  <c:v>4</c:v>
                </c:pt>
                <c:pt idx="72">
                  <c:v>3</c:v>
                </c:pt>
                <c:pt idx="73">
                  <c:v>11</c:v>
                </c:pt>
                <c:pt idx="74">
                  <c:v>5</c:v>
                </c:pt>
                <c:pt idx="75">
                  <c:v>10</c:v>
                </c:pt>
                <c:pt idx="76">
                  <c:v>3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8</c:v>
                </c:pt>
                <c:pt idx="81">
                  <c:v>5</c:v>
                </c:pt>
                <c:pt idx="82">
                  <c:v>5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6</c:v>
                </c:pt>
                <c:pt idx="87">
                  <c:v>8</c:v>
                </c:pt>
                <c:pt idx="88">
                  <c:v>10</c:v>
                </c:pt>
                <c:pt idx="89">
                  <c:v>14</c:v>
                </c:pt>
                <c:pt idx="90">
                  <c:v>7</c:v>
                </c:pt>
                <c:pt idx="91">
                  <c:v>5</c:v>
                </c:pt>
                <c:pt idx="92">
                  <c:v>7</c:v>
                </c:pt>
                <c:pt idx="93">
                  <c:v>6</c:v>
                </c:pt>
                <c:pt idx="94">
                  <c:v>6</c:v>
                </c:pt>
                <c:pt idx="95">
                  <c:v>15</c:v>
                </c:pt>
                <c:pt idx="96">
                  <c:v>4</c:v>
                </c:pt>
                <c:pt idx="97">
                  <c:v>7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5</c:v>
                </c:pt>
                <c:pt idx="103">
                  <c:v>8</c:v>
                </c:pt>
                <c:pt idx="104">
                  <c:v>7</c:v>
                </c:pt>
                <c:pt idx="105">
                  <c:v>2</c:v>
                </c:pt>
                <c:pt idx="106">
                  <c:v>2</c:v>
                </c:pt>
                <c:pt idx="107">
                  <c:v>9</c:v>
                </c:pt>
                <c:pt idx="108">
                  <c:v>7</c:v>
                </c:pt>
                <c:pt idx="109">
                  <c:v>8</c:v>
                </c:pt>
                <c:pt idx="110">
                  <c:v>0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4</c:v>
                </c:pt>
                <c:pt idx="117">
                  <c:v>7</c:v>
                </c:pt>
                <c:pt idx="118">
                  <c:v>1</c:v>
                </c:pt>
                <c:pt idx="119">
                  <c:v>4</c:v>
                </c:pt>
                <c:pt idx="120">
                  <c:v>0</c:v>
                </c:pt>
                <c:pt idx="121">
                  <c:v>3</c:v>
                </c:pt>
                <c:pt idx="122">
                  <c:v>7</c:v>
                </c:pt>
                <c:pt idx="123">
                  <c:v>2</c:v>
                </c:pt>
                <c:pt idx="124">
                  <c:v>10</c:v>
                </c:pt>
                <c:pt idx="125">
                  <c:v>6</c:v>
                </c:pt>
                <c:pt idx="126">
                  <c:v>4</c:v>
                </c:pt>
                <c:pt idx="127">
                  <c:v>4</c:v>
                </c:pt>
                <c:pt idx="128">
                  <c:v>10</c:v>
                </c:pt>
                <c:pt idx="129">
                  <c:v>13</c:v>
                </c:pt>
                <c:pt idx="130">
                  <c:v>21</c:v>
                </c:pt>
                <c:pt idx="131">
                  <c:v>14</c:v>
                </c:pt>
                <c:pt idx="132">
                  <c:v>14</c:v>
                </c:pt>
                <c:pt idx="133">
                  <c:v>8</c:v>
                </c:pt>
                <c:pt idx="134">
                  <c:v>7</c:v>
                </c:pt>
                <c:pt idx="135">
                  <c:v>13</c:v>
                </c:pt>
                <c:pt idx="136">
                  <c:v>12</c:v>
                </c:pt>
                <c:pt idx="137">
                  <c:v>13</c:v>
                </c:pt>
                <c:pt idx="138">
                  <c:v>9</c:v>
                </c:pt>
                <c:pt idx="139">
                  <c:v>14</c:v>
                </c:pt>
                <c:pt idx="140">
                  <c:v>8</c:v>
                </c:pt>
                <c:pt idx="141">
                  <c:v>1</c:v>
                </c:pt>
                <c:pt idx="142">
                  <c:v>5</c:v>
                </c:pt>
                <c:pt idx="143">
                  <c:v>11</c:v>
                </c:pt>
                <c:pt idx="144">
                  <c:v>13</c:v>
                </c:pt>
                <c:pt idx="145">
                  <c:v>7</c:v>
                </c:pt>
                <c:pt idx="146">
                  <c:v>4</c:v>
                </c:pt>
                <c:pt idx="147">
                  <c:v>5</c:v>
                </c:pt>
                <c:pt idx="148">
                  <c:v>4</c:v>
                </c:pt>
                <c:pt idx="149">
                  <c:v>10</c:v>
                </c:pt>
                <c:pt idx="150">
                  <c:v>8</c:v>
                </c:pt>
                <c:pt idx="151">
                  <c:v>10</c:v>
                </c:pt>
                <c:pt idx="152">
                  <c:v>24</c:v>
                </c:pt>
                <c:pt idx="153">
                  <c:v>19</c:v>
                </c:pt>
                <c:pt idx="154">
                  <c:v>7</c:v>
                </c:pt>
                <c:pt idx="155">
                  <c:v>7</c:v>
                </c:pt>
                <c:pt idx="156">
                  <c:v>20</c:v>
                </c:pt>
                <c:pt idx="157">
                  <c:v>23</c:v>
                </c:pt>
                <c:pt idx="158">
                  <c:v>17</c:v>
                </c:pt>
                <c:pt idx="159">
                  <c:v>16</c:v>
                </c:pt>
                <c:pt idx="160">
                  <c:v>8</c:v>
                </c:pt>
                <c:pt idx="161">
                  <c:v>17</c:v>
                </c:pt>
                <c:pt idx="162">
                  <c:v>12</c:v>
                </c:pt>
                <c:pt idx="163">
                  <c:v>24</c:v>
                </c:pt>
                <c:pt idx="164">
                  <c:v>33</c:v>
                </c:pt>
                <c:pt idx="165">
                  <c:v>20</c:v>
                </c:pt>
                <c:pt idx="166">
                  <c:v>22</c:v>
                </c:pt>
                <c:pt idx="167">
                  <c:v>26</c:v>
                </c:pt>
                <c:pt idx="168">
                  <c:v>7</c:v>
                </c:pt>
                <c:pt idx="169">
                  <c:v>17</c:v>
                </c:pt>
                <c:pt idx="170">
                  <c:v>40</c:v>
                </c:pt>
                <c:pt idx="171">
                  <c:v>52</c:v>
                </c:pt>
                <c:pt idx="172">
                  <c:v>52</c:v>
                </c:pt>
                <c:pt idx="173">
                  <c:v>99</c:v>
                </c:pt>
                <c:pt idx="174">
                  <c:v>68</c:v>
                </c:pt>
                <c:pt idx="175">
                  <c:v>46</c:v>
                </c:pt>
                <c:pt idx="176">
                  <c:v>72</c:v>
                </c:pt>
                <c:pt idx="177">
                  <c:v>103</c:v>
                </c:pt>
                <c:pt idx="178">
                  <c:v>103</c:v>
                </c:pt>
                <c:pt idx="179">
                  <c:v>75</c:v>
                </c:pt>
                <c:pt idx="180">
                  <c:v>84</c:v>
                </c:pt>
                <c:pt idx="181">
                  <c:v>178</c:v>
                </c:pt>
                <c:pt idx="182">
                  <c:v>76</c:v>
                </c:pt>
                <c:pt idx="183">
                  <c:v>122</c:v>
                </c:pt>
                <c:pt idx="184">
                  <c:v>197</c:v>
                </c:pt>
                <c:pt idx="185">
                  <c:v>223</c:v>
                </c:pt>
                <c:pt idx="186">
                  <c:v>261</c:v>
                </c:pt>
                <c:pt idx="187">
                  <c:v>255</c:v>
                </c:pt>
                <c:pt idx="188">
                  <c:v>252</c:v>
                </c:pt>
                <c:pt idx="189">
                  <c:v>205</c:v>
                </c:pt>
                <c:pt idx="190">
                  <c:v>130</c:v>
                </c:pt>
                <c:pt idx="191">
                  <c:v>316</c:v>
                </c:pt>
                <c:pt idx="192">
                  <c:v>415</c:v>
                </c:pt>
                <c:pt idx="193">
                  <c:v>379</c:v>
                </c:pt>
                <c:pt idx="194">
                  <c:v>388</c:v>
                </c:pt>
                <c:pt idx="195">
                  <c:v>331</c:v>
                </c:pt>
                <c:pt idx="196">
                  <c:v>388</c:v>
                </c:pt>
                <c:pt idx="197">
                  <c:v>223</c:v>
                </c:pt>
                <c:pt idx="198">
                  <c:v>400</c:v>
                </c:pt>
                <c:pt idx="199">
                  <c:v>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5-49AF-9DEC-B2DA325881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404</c:v>
                </c:pt>
                <c:pt idx="196">
                  <c:v>405</c:v>
                </c:pt>
                <c:pt idx="197">
                  <c:v>416</c:v>
                </c:pt>
                <c:pt idx="198">
                  <c:v>434</c:v>
                </c:pt>
                <c:pt idx="199">
                  <c:v>445</c:v>
                </c:pt>
                <c:pt idx="200">
                  <c:v>452</c:v>
                </c:pt>
                <c:pt idx="201">
                  <c:v>456</c:v>
                </c:pt>
                <c:pt idx="202">
                  <c:v>460</c:v>
                </c:pt>
                <c:pt idx="203">
                  <c:v>470</c:v>
                </c:pt>
                <c:pt idx="204">
                  <c:v>483</c:v>
                </c:pt>
                <c:pt idx="205">
                  <c:v>494</c:v>
                </c:pt>
                <c:pt idx="206">
                  <c:v>501</c:v>
                </c:pt>
                <c:pt idx="207">
                  <c:v>508</c:v>
                </c:pt>
                <c:pt idx="208">
                  <c:v>516</c:v>
                </c:pt>
                <c:pt idx="209">
                  <c:v>526</c:v>
                </c:pt>
                <c:pt idx="210">
                  <c:v>538</c:v>
                </c:pt>
                <c:pt idx="211">
                  <c:v>548</c:v>
                </c:pt>
                <c:pt idx="212">
                  <c:v>557</c:v>
                </c:pt>
                <c:pt idx="213">
                  <c:v>566</c:v>
                </c:pt>
                <c:pt idx="214">
                  <c:v>576</c:v>
                </c:pt>
                <c:pt idx="215">
                  <c:v>587</c:v>
                </c:pt>
                <c:pt idx="216">
                  <c:v>599</c:v>
                </c:pt>
                <c:pt idx="217">
                  <c:v>609</c:v>
                </c:pt>
                <c:pt idx="218">
                  <c:v>6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5-49AF-9DEC-B2DA325881D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419</c:v>
                </c:pt>
                <c:pt idx="196">
                  <c:v>429</c:v>
                </c:pt>
                <c:pt idx="197">
                  <c:v>447</c:v>
                </c:pt>
                <c:pt idx="198">
                  <c:v>469</c:v>
                </c:pt>
                <c:pt idx="199">
                  <c:v>487</c:v>
                </c:pt>
                <c:pt idx="200">
                  <c:v>503</c:v>
                </c:pt>
                <c:pt idx="201">
                  <c:v>517</c:v>
                </c:pt>
                <c:pt idx="202">
                  <c:v>532</c:v>
                </c:pt>
                <c:pt idx="203">
                  <c:v>552</c:v>
                </c:pt>
                <c:pt idx="204">
                  <c:v>574</c:v>
                </c:pt>
                <c:pt idx="205">
                  <c:v>595</c:v>
                </c:pt>
                <c:pt idx="206">
                  <c:v>614</c:v>
                </c:pt>
                <c:pt idx="207">
                  <c:v>633</c:v>
                </c:pt>
                <c:pt idx="208">
                  <c:v>655</c:v>
                </c:pt>
                <c:pt idx="209">
                  <c:v>678</c:v>
                </c:pt>
                <c:pt idx="210">
                  <c:v>703</c:v>
                </c:pt>
                <c:pt idx="211">
                  <c:v>727</c:v>
                </c:pt>
                <c:pt idx="212">
                  <c:v>751</c:v>
                </c:pt>
                <c:pt idx="213">
                  <c:v>776</c:v>
                </c:pt>
                <c:pt idx="214">
                  <c:v>803</c:v>
                </c:pt>
                <c:pt idx="215">
                  <c:v>831</c:v>
                </c:pt>
                <c:pt idx="216">
                  <c:v>860</c:v>
                </c:pt>
                <c:pt idx="217">
                  <c:v>889</c:v>
                </c:pt>
                <c:pt idx="218">
                  <c:v>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15-49AF-9DEC-B2DA325881D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433</c:v>
                </c:pt>
                <c:pt idx="196">
                  <c:v>453</c:v>
                </c:pt>
                <c:pt idx="197">
                  <c:v>477</c:v>
                </c:pt>
                <c:pt idx="198">
                  <c:v>504</c:v>
                </c:pt>
                <c:pt idx="199">
                  <c:v>530</c:v>
                </c:pt>
                <c:pt idx="200">
                  <c:v>556</c:v>
                </c:pt>
                <c:pt idx="201">
                  <c:v>582</c:v>
                </c:pt>
                <c:pt idx="202">
                  <c:v>609</c:v>
                </c:pt>
                <c:pt idx="203">
                  <c:v>641</c:v>
                </c:pt>
                <c:pt idx="204">
                  <c:v>674</c:v>
                </c:pt>
                <c:pt idx="205">
                  <c:v>708</c:v>
                </c:pt>
                <c:pt idx="206">
                  <c:v>742</c:v>
                </c:pt>
                <c:pt idx="207">
                  <c:v>778</c:v>
                </c:pt>
                <c:pt idx="208">
                  <c:v>816</c:v>
                </c:pt>
                <c:pt idx="209">
                  <c:v>857</c:v>
                </c:pt>
                <c:pt idx="210">
                  <c:v>901</c:v>
                </c:pt>
                <c:pt idx="211">
                  <c:v>945</c:v>
                </c:pt>
                <c:pt idx="212">
                  <c:v>992</c:v>
                </c:pt>
                <c:pt idx="213">
                  <c:v>1040</c:v>
                </c:pt>
                <c:pt idx="214">
                  <c:v>1092</c:v>
                </c:pt>
                <c:pt idx="215">
                  <c:v>1146</c:v>
                </c:pt>
                <c:pt idx="216">
                  <c:v>1203</c:v>
                </c:pt>
                <c:pt idx="217">
                  <c:v>1262</c:v>
                </c:pt>
                <c:pt idx="218">
                  <c:v>1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215-49AF-9DEC-B2DA325881D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448</c:v>
                </c:pt>
                <c:pt idx="196">
                  <c:v>477</c:v>
                </c:pt>
                <c:pt idx="197">
                  <c:v>507</c:v>
                </c:pt>
                <c:pt idx="198">
                  <c:v>539</c:v>
                </c:pt>
                <c:pt idx="199">
                  <c:v>574</c:v>
                </c:pt>
                <c:pt idx="200">
                  <c:v>611</c:v>
                </c:pt>
                <c:pt idx="201">
                  <c:v>650</c:v>
                </c:pt>
                <c:pt idx="202">
                  <c:v>692</c:v>
                </c:pt>
                <c:pt idx="203">
                  <c:v>736</c:v>
                </c:pt>
                <c:pt idx="204">
                  <c:v>783</c:v>
                </c:pt>
                <c:pt idx="205">
                  <c:v>833</c:v>
                </c:pt>
                <c:pt idx="206">
                  <c:v>886</c:v>
                </c:pt>
                <c:pt idx="207">
                  <c:v>943</c:v>
                </c:pt>
                <c:pt idx="208">
                  <c:v>1003</c:v>
                </c:pt>
                <c:pt idx="209">
                  <c:v>1067</c:v>
                </c:pt>
                <c:pt idx="210">
                  <c:v>1135</c:v>
                </c:pt>
                <c:pt idx="211">
                  <c:v>1208</c:v>
                </c:pt>
                <c:pt idx="212">
                  <c:v>1285</c:v>
                </c:pt>
                <c:pt idx="213">
                  <c:v>1367</c:v>
                </c:pt>
                <c:pt idx="214">
                  <c:v>1454</c:v>
                </c:pt>
                <c:pt idx="215">
                  <c:v>1547</c:v>
                </c:pt>
                <c:pt idx="216">
                  <c:v>1645</c:v>
                </c:pt>
                <c:pt idx="217">
                  <c:v>1750</c:v>
                </c:pt>
                <c:pt idx="218">
                  <c:v>1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B7-42F9-96E3-A51B38B8C2B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9.985421284924012</c:v>
                </c:pt>
                <c:pt idx="1">
                  <c:v>9.0776557135672835</c:v>
                </c:pt>
                <c:pt idx="2">
                  <c:v>8.8961025992959382</c:v>
                </c:pt>
                <c:pt idx="3">
                  <c:v>7.8067839136678634</c:v>
                </c:pt>
                <c:pt idx="4">
                  <c:v>7.9883370279392087</c:v>
                </c:pt>
                <c:pt idx="5">
                  <c:v>7.4436776851251718</c:v>
                </c:pt>
                <c:pt idx="6">
                  <c:v>6.7174652280397895</c:v>
                </c:pt>
                <c:pt idx="7">
                  <c:v>5.6281465424117156</c:v>
                </c:pt>
                <c:pt idx="8">
                  <c:v>4.7203809710549871</c:v>
                </c:pt>
                <c:pt idx="9">
                  <c:v>3.4495091711555674</c:v>
                </c:pt>
                <c:pt idx="10">
                  <c:v>2.7232967140701847</c:v>
                </c:pt>
                <c:pt idx="11">
                  <c:v>2.9048498283415305</c:v>
                </c:pt>
                <c:pt idx="12">
                  <c:v>2.9048498283415305</c:v>
                </c:pt>
                <c:pt idx="13">
                  <c:v>3.4495091711555674</c:v>
                </c:pt>
                <c:pt idx="14">
                  <c:v>3.4495091711555674</c:v>
                </c:pt>
                <c:pt idx="15">
                  <c:v>3.0864029426128758</c:v>
                </c:pt>
                <c:pt idx="16">
                  <c:v>3.2679560568842216</c:v>
                </c:pt>
                <c:pt idx="17">
                  <c:v>3.0864029426128758</c:v>
                </c:pt>
                <c:pt idx="18">
                  <c:v>2.7232967140701847</c:v>
                </c:pt>
                <c:pt idx="19">
                  <c:v>2.7232967140701847</c:v>
                </c:pt>
                <c:pt idx="20">
                  <c:v>1.9970842569848022</c:v>
                </c:pt>
                <c:pt idx="21">
                  <c:v>1.2708717998994197</c:v>
                </c:pt>
                <c:pt idx="22">
                  <c:v>1.0893186856280739</c:v>
                </c:pt>
                <c:pt idx="23">
                  <c:v>0.72621245708538262</c:v>
                </c:pt>
                <c:pt idx="24">
                  <c:v>0.72621245708538262</c:v>
                </c:pt>
                <c:pt idx="25">
                  <c:v>0.72621245708538262</c:v>
                </c:pt>
                <c:pt idx="26">
                  <c:v>0.90776557135672831</c:v>
                </c:pt>
                <c:pt idx="27">
                  <c:v>1.2708717998994197</c:v>
                </c:pt>
                <c:pt idx="28">
                  <c:v>1.2708717998994197</c:v>
                </c:pt>
                <c:pt idx="29">
                  <c:v>1.2708717998994197</c:v>
                </c:pt>
                <c:pt idx="30">
                  <c:v>1.8155311427134566</c:v>
                </c:pt>
                <c:pt idx="31">
                  <c:v>1.8155311427134566</c:v>
                </c:pt>
                <c:pt idx="32">
                  <c:v>1.9970842569848022</c:v>
                </c:pt>
                <c:pt idx="33">
                  <c:v>1.9970842569848022</c:v>
                </c:pt>
                <c:pt idx="34">
                  <c:v>1.9970842569848022</c:v>
                </c:pt>
                <c:pt idx="35">
                  <c:v>2.3601904855274936</c:v>
                </c:pt>
                <c:pt idx="36">
                  <c:v>2.7232967140701847</c:v>
                </c:pt>
                <c:pt idx="37">
                  <c:v>4.5388278567836418</c:v>
                </c:pt>
                <c:pt idx="38">
                  <c:v>4.7203809710549871</c:v>
                </c:pt>
                <c:pt idx="39">
                  <c:v>4.9019340853263325</c:v>
                </c:pt>
                <c:pt idx="40">
                  <c:v>5.4465934281403694</c:v>
                </c:pt>
                <c:pt idx="41">
                  <c:v>5.4465934281403694</c:v>
                </c:pt>
                <c:pt idx="42">
                  <c:v>7.0805714565824802</c:v>
                </c:pt>
                <c:pt idx="43">
                  <c:v>7.6252307993965172</c:v>
                </c:pt>
                <c:pt idx="44">
                  <c:v>7.0805714565824802</c:v>
                </c:pt>
                <c:pt idx="45">
                  <c:v>7.0805714565824802</c:v>
                </c:pt>
                <c:pt idx="46">
                  <c:v>7.4436776851251718</c:v>
                </c:pt>
                <c:pt idx="47">
                  <c:v>7.0805714565824802</c:v>
                </c:pt>
                <c:pt idx="48">
                  <c:v>7.2621245708538265</c:v>
                </c:pt>
                <c:pt idx="49">
                  <c:v>6.7174652280397895</c:v>
                </c:pt>
                <c:pt idx="50">
                  <c:v>6.7174652280397895</c:v>
                </c:pt>
                <c:pt idx="51">
                  <c:v>5.809699656683061</c:v>
                </c:pt>
                <c:pt idx="52">
                  <c:v>5.4465934281403694</c:v>
                </c:pt>
                <c:pt idx="53">
                  <c:v>4.7203809710549871</c:v>
                </c:pt>
                <c:pt idx="54">
                  <c:v>4.5388278567836418</c:v>
                </c:pt>
                <c:pt idx="55">
                  <c:v>4.9019340853263325</c:v>
                </c:pt>
                <c:pt idx="56">
                  <c:v>4.9019340853263325</c:v>
                </c:pt>
                <c:pt idx="57">
                  <c:v>5.809699656683061</c:v>
                </c:pt>
                <c:pt idx="58">
                  <c:v>7.4436776851251718</c:v>
                </c:pt>
                <c:pt idx="59">
                  <c:v>8.5329963707532457</c:v>
                </c:pt>
                <c:pt idx="60">
                  <c:v>9.2592088278386289</c:v>
                </c:pt>
                <c:pt idx="61">
                  <c:v>10.348527513466703</c:v>
                </c:pt>
                <c:pt idx="62">
                  <c:v>10.348527513466703</c:v>
                </c:pt>
                <c:pt idx="63">
                  <c:v>9.985421284924012</c:v>
                </c:pt>
                <c:pt idx="64">
                  <c:v>10.893186856280739</c:v>
                </c:pt>
                <c:pt idx="65">
                  <c:v>9.0776557135672835</c:v>
                </c:pt>
                <c:pt idx="66">
                  <c:v>9.0776557135672835</c:v>
                </c:pt>
                <c:pt idx="67">
                  <c:v>8.714549485024591</c:v>
                </c:pt>
                <c:pt idx="68">
                  <c:v>7.9883370279392087</c:v>
                </c:pt>
                <c:pt idx="69">
                  <c:v>7.6252307993965172</c:v>
                </c:pt>
                <c:pt idx="70">
                  <c:v>7.0805714565824802</c:v>
                </c:pt>
                <c:pt idx="71">
                  <c:v>5.265040313869024</c:v>
                </c:pt>
                <c:pt idx="72">
                  <c:v>5.9912527709544063</c:v>
                </c:pt>
                <c:pt idx="73">
                  <c:v>5.9912527709544063</c:v>
                </c:pt>
                <c:pt idx="74">
                  <c:v>5.809699656683061</c:v>
                </c:pt>
                <c:pt idx="75">
                  <c:v>5.6281465424117156</c:v>
                </c:pt>
                <c:pt idx="76">
                  <c:v>6.5359121137684433</c:v>
                </c:pt>
                <c:pt idx="77">
                  <c:v>7.2621245708538265</c:v>
                </c:pt>
                <c:pt idx="78">
                  <c:v>7.8067839136678634</c:v>
                </c:pt>
                <c:pt idx="79">
                  <c:v>6.3543589994970979</c:v>
                </c:pt>
                <c:pt idx="80">
                  <c:v>5.6281465424117156</c:v>
                </c:pt>
                <c:pt idx="81">
                  <c:v>5.6281465424117156</c:v>
                </c:pt>
                <c:pt idx="82">
                  <c:v>5.809699656683061</c:v>
                </c:pt>
                <c:pt idx="83">
                  <c:v>5.0834871995976787</c:v>
                </c:pt>
                <c:pt idx="84">
                  <c:v>4.9019340853263325</c:v>
                </c:pt>
                <c:pt idx="85">
                  <c:v>4.1757216282409502</c:v>
                </c:pt>
                <c:pt idx="86">
                  <c:v>5.4465934281403694</c:v>
                </c:pt>
                <c:pt idx="87">
                  <c:v>5.0834871995976787</c:v>
                </c:pt>
                <c:pt idx="88">
                  <c:v>5.4465934281403694</c:v>
                </c:pt>
                <c:pt idx="89">
                  <c:v>4.9019340853263325</c:v>
                </c:pt>
                <c:pt idx="90">
                  <c:v>4.5388278567836418</c:v>
                </c:pt>
                <c:pt idx="91">
                  <c:v>4.7203809710549871</c:v>
                </c:pt>
                <c:pt idx="92">
                  <c:v>4.3572747425122955</c:v>
                </c:pt>
                <c:pt idx="93">
                  <c:v>4.9019340853263325</c:v>
                </c:pt>
                <c:pt idx="94">
                  <c:v>5.809699656683061</c:v>
                </c:pt>
                <c:pt idx="95">
                  <c:v>5.809699656683061</c:v>
                </c:pt>
                <c:pt idx="96">
                  <c:v>6.5359121137684433</c:v>
                </c:pt>
                <c:pt idx="97">
                  <c:v>7.8067839136678634</c:v>
                </c:pt>
                <c:pt idx="98">
                  <c:v>8.8961025992959382</c:v>
                </c:pt>
                <c:pt idx="99">
                  <c:v>12.345611770451503</c:v>
                </c:pt>
                <c:pt idx="100">
                  <c:v>13.071824227536887</c:v>
                </c:pt>
                <c:pt idx="101">
                  <c:v>14.524249141707653</c:v>
                </c:pt>
                <c:pt idx="102">
                  <c:v>15.250461598793034</c:v>
                </c:pt>
                <c:pt idx="103">
                  <c:v>15.795120941607072</c:v>
                </c:pt>
                <c:pt idx="104">
                  <c:v>16.33978028442111</c:v>
                </c:pt>
                <c:pt idx="105">
                  <c:v>16.158227170149765</c:v>
                </c:pt>
                <c:pt idx="106">
                  <c:v>14.705802255978998</c:v>
                </c:pt>
                <c:pt idx="107">
                  <c:v>13.79803668462227</c:v>
                </c:pt>
                <c:pt idx="108">
                  <c:v>13.79803668462227</c:v>
                </c:pt>
                <c:pt idx="109">
                  <c:v>13.79803668462227</c:v>
                </c:pt>
                <c:pt idx="110">
                  <c:v>12.708717998994196</c:v>
                </c:pt>
                <c:pt idx="111">
                  <c:v>11.256293084823431</c:v>
                </c:pt>
                <c:pt idx="112">
                  <c:v>11.074739970552086</c:v>
                </c:pt>
                <c:pt idx="113">
                  <c:v>11.074739970552086</c:v>
                </c:pt>
                <c:pt idx="114">
                  <c:v>10.711633742009393</c:v>
                </c:pt>
                <c:pt idx="115">
                  <c:v>8.8961025992959382</c:v>
                </c:pt>
                <c:pt idx="116">
                  <c:v>8.3514432564819003</c:v>
                </c:pt>
                <c:pt idx="117">
                  <c:v>8.8961025992959382</c:v>
                </c:pt>
                <c:pt idx="118">
                  <c:v>9.8038681706526649</c:v>
                </c:pt>
                <c:pt idx="119">
                  <c:v>9.2592088278386289</c:v>
                </c:pt>
                <c:pt idx="120">
                  <c:v>8.714549485024591</c:v>
                </c:pt>
                <c:pt idx="121">
                  <c:v>11.800952427637467</c:v>
                </c:pt>
                <c:pt idx="122">
                  <c:v>14.524249141707653</c:v>
                </c:pt>
                <c:pt idx="123">
                  <c:v>14.887355370250344</c:v>
                </c:pt>
                <c:pt idx="124">
                  <c:v>15.43201471306438</c:v>
                </c:pt>
                <c:pt idx="125">
                  <c:v>17.247545855777837</c:v>
                </c:pt>
                <c:pt idx="126">
                  <c:v>19.970842569848024</c:v>
                </c:pt>
                <c:pt idx="127">
                  <c:v>21.241714369747442</c:v>
                </c:pt>
                <c:pt idx="128">
                  <c:v>19.789289455576675</c:v>
                </c:pt>
                <c:pt idx="129">
                  <c:v>17.792205198591876</c:v>
                </c:pt>
                <c:pt idx="130">
                  <c:v>19.60773634130533</c:v>
                </c:pt>
                <c:pt idx="131">
                  <c:v>20.51550191266206</c:v>
                </c:pt>
                <c:pt idx="132">
                  <c:v>21.241714369747442</c:v>
                </c:pt>
                <c:pt idx="133">
                  <c:v>23.057245512460895</c:v>
                </c:pt>
                <c:pt idx="134">
                  <c:v>23.601904855274935</c:v>
                </c:pt>
                <c:pt idx="135">
                  <c:v>24.691223540903007</c:v>
                </c:pt>
                <c:pt idx="136">
                  <c:v>27.95917959778723</c:v>
                </c:pt>
                <c:pt idx="137">
                  <c:v>26.143648455073773</c:v>
                </c:pt>
                <c:pt idx="138">
                  <c:v>27.051414026430503</c:v>
                </c:pt>
                <c:pt idx="139">
                  <c:v>29.956263854772029</c:v>
                </c:pt>
                <c:pt idx="140">
                  <c:v>33.405773025927601</c:v>
                </c:pt>
                <c:pt idx="141">
                  <c:v>39.21547268261066</c:v>
                </c:pt>
                <c:pt idx="142">
                  <c:v>53.19506248150428</c:v>
                </c:pt>
                <c:pt idx="143">
                  <c:v>60.820293280900792</c:v>
                </c:pt>
                <c:pt idx="144">
                  <c:v>67.900864737483275</c:v>
                </c:pt>
                <c:pt idx="145">
                  <c:v>77.886286022407276</c:v>
                </c:pt>
                <c:pt idx="146">
                  <c:v>89.324132221502069</c:v>
                </c:pt>
                <c:pt idx="147">
                  <c:v>98.583341049340689</c:v>
                </c:pt>
                <c:pt idx="148">
                  <c:v>102.75906267758165</c:v>
                </c:pt>
                <c:pt idx="149">
                  <c:v>100.03576596351147</c:v>
                </c:pt>
                <c:pt idx="150">
                  <c:v>120.00660853335948</c:v>
                </c:pt>
                <c:pt idx="151">
                  <c:v>125.45320196149984</c:v>
                </c:pt>
                <c:pt idx="152">
                  <c:v>134.53085767506713</c:v>
                </c:pt>
                <c:pt idx="153">
                  <c:v>151.59685041657363</c:v>
                </c:pt>
                <c:pt idx="154">
                  <c:v>173.3832241291351</c:v>
                </c:pt>
                <c:pt idx="155">
                  <c:v>207.15210338360541</c:v>
                </c:pt>
                <c:pt idx="156">
                  <c:v>238.1976859240055</c:v>
                </c:pt>
                <c:pt idx="157">
                  <c:v>251.63261638008507</c:v>
                </c:pt>
                <c:pt idx="158">
                  <c:v>275.05296812108867</c:v>
                </c:pt>
                <c:pt idx="159">
                  <c:v>276.50539303525943</c:v>
                </c:pt>
                <c:pt idx="160">
                  <c:v>298.11021363354956</c:v>
                </c:pt>
                <c:pt idx="161">
                  <c:v>332.96841157364793</c:v>
                </c:pt>
                <c:pt idx="162">
                  <c:v>354.39167905766675</c:v>
                </c:pt>
                <c:pt idx="163">
                  <c:v>378.53824325575567</c:v>
                </c:pt>
                <c:pt idx="164">
                  <c:v>392.88093928319199</c:v>
                </c:pt>
                <c:pt idx="165">
                  <c:v>426.10515919484823</c:v>
                </c:pt>
                <c:pt idx="166">
                  <c:v>442.98959882208339</c:v>
                </c:pt>
                <c:pt idx="167">
                  <c:v>458.24006042087643</c:v>
                </c:pt>
                <c:pt idx="168">
                  <c:v>519.60501304459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B7-42F9-96E3-A51B38B8C2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385.98192094088085</c:v>
                </c:pt>
                <c:pt idx="165" formatCode="0">
                  <c:v>398.32753271133237</c:v>
                </c:pt>
                <c:pt idx="166" formatCode="0">
                  <c:v>409.40227268188448</c:v>
                </c:pt>
                <c:pt idx="167" formatCode="0">
                  <c:v>420.11390642389387</c:v>
                </c:pt>
                <c:pt idx="168" formatCode="0">
                  <c:v>429.19156213746112</c:v>
                </c:pt>
                <c:pt idx="169" formatCode="0">
                  <c:v>435.90902736550089</c:v>
                </c:pt>
                <c:pt idx="170" formatCode="0">
                  <c:v>439.54008965092783</c:v>
                </c:pt>
                <c:pt idx="171" formatCode="0">
                  <c:v>445.89444865042498</c:v>
                </c:pt>
                <c:pt idx="172" formatCode="0">
                  <c:v>455.51676370680622</c:v>
                </c:pt>
                <c:pt idx="173" formatCode="0">
                  <c:v>465.32063187745894</c:v>
                </c:pt>
                <c:pt idx="174" formatCode="0">
                  <c:v>473.85362824821215</c:v>
                </c:pt>
                <c:pt idx="175" formatCode="0">
                  <c:v>482.02351839042268</c:v>
                </c:pt>
                <c:pt idx="176" formatCode="0">
                  <c:v>490.0118554183619</c:v>
                </c:pt>
                <c:pt idx="177" formatCode="0">
                  <c:v>498.72640490338654</c:v>
                </c:pt>
                <c:pt idx="178" formatCode="0">
                  <c:v>508.53027307403914</c:v>
                </c:pt>
                <c:pt idx="179" formatCode="0">
                  <c:v>518.33414124469186</c:v>
                </c:pt>
                <c:pt idx="180" formatCode="0">
                  <c:v>527.77490318680179</c:v>
                </c:pt>
                <c:pt idx="181" formatCode="0">
                  <c:v>537.03411201464053</c:v>
                </c:pt>
                <c:pt idx="182" formatCode="0">
                  <c:v>546.47487395675034</c:v>
                </c:pt>
                <c:pt idx="183" formatCode="0">
                  <c:v>556.46029524167443</c:v>
                </c:pt>
                <c:pt idx="184" formatCode="0">
                  <c:v>566.80882275514114</c:v>
                </c:pt>
                <c:pt idx="185" formatCode="0">
                  <c:v>577.15735026860784</c:v>
                </c:pt>
                <c:pt idx="186" formatCode="0">
                  <c:v>587.50587778207455</c:v>
                </c:pt>
                <c:pt idx="187" formatCode="0">
                  <c:v>598.03595840981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B7-42F9-96E3-A51B38B8C2B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388.16055831213697</c:v>
                </c:pt>
                <c:pt idx="165" formatCode="0">
                  <c:v>404.13723236801542</c:v>
                </c:pt>
                <c:pt idx="166" formatCode="0">
                  <c:v>419.75080019535113</c:v>
                </c:pt>
                <c:pt idx="167" formatCode="0">
                  <c:v>435.54592113695821</c:v>
                </c:pt>
                <c:pt idx="168" formatCode="0">
                  <c:v>450.79638273575125</c:v>
                </c:pt>
                <c:pt idx="169" formatCode="0">
                  <c:v>464.9575256489162</c:v>
                </c:pt>
                <c:pt idx="170" formatCode="0">
                  <c:v>477.48469053363908</c:v>
                </c:pt>
                <c:pt idx="171" formatCode="0">
                  <c:v>492.19049278961802</c:v>
                </c:pt>
                <c:pt idx="172" formatCode="0">
                  <c:v>509.98269798820991</c:v>
                </c:pt>
                <c:pt idx="173" formatCode="0">
                  <c:v>528.50111564388726</c:v>
                </c:pt>
                <c:pt idx="174" formatCode="0">
                  <c:v>546.83798018529308</c:v>
                </c:pt>
                <c:pt idx="175" formatCode="0">
                  <c:v>565.35639784097032</c:v>
                </c:pt>
                <c:pt idx="176" formatCode="0">
                  <c:v>584.23792172519029</c:v>
                </c:pt>
                <c:pt idx="177" formatCode="0">
                  <c:v>604.20876429503835</c:v>
                </c:pt>
                <c:pt idx="178" formatCode="0">
                  <c:v>625.45047866478581</c:v>
                </c:pt>
                <c:pt idx="179" formatCode="0">
                  <c:v>647.41840549161861</c:v>
                </c:pt>
                <c:pt idx="180" formatCode="0">
                  <c:v>669.56788543272285</c:v>
                </c:pt>
                <c:pt idx="181" formatCode="0">
                  <c:v>692.26202471664101</c:v>
                </c:pt>
                <c:pt idx="182" formatCode="0">
                  <c:v>715.68237645764464</c:v>
                </c:pt>
                <c:pt idx="183" formatCode="0">
                  <c:v>740.37359999854755</c:v>
                </c:pt>
                <c:pt idx="184" formatCode="0">
                  <c:v>765.97258911080723</c:v>
                </c:pt>
                <c:pt idx="185" formatCode="0">
                  <c:v>792.29779068015239</c:v>
                </c:pt>
                <c:pt idx="186" formatCode="0">
                  <c:v>819.3492047065829</c:v>
                </c:pt>
                <c:pt idx="187" formatCode="0">
                  <c:v>847.30838430437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B7-42F9-96E3-A51B38B8C2B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390.33919568339314</c:v>
                </c:pt>
                <c:pt idx="165" formatCode="0">
                  <c:v>409.7653789104271</c:v>
                </c:pt>
                <c:pt idx="166" formatCode="0">
                  <c:v>429.73622148027516</c:v>
                </c:pt>
                <c:pt idx="167" formatCode="0">
                  <c:v>450.61482962147988</c:v>
                </c:pt>
                <c:pt idx="168" formatCode="0">
                  <c:v>472.03809710549871</c:v>
                </c:pt>
                <c:pt idx="169" formatCode="0">
                  <c:v>493.82447081806015</c:v>
                </c:pt>
                <c:pt idx="170" formatCode="0">
                  <c:v>515.79239764489307</c:v>
                </c:pt>
                <c:pt idx="171" formatCode="0">
                  <c:v>539.57585561443932</c:v>
                </c:pt>
                <c:pt idx="172" formatCode="0">
                  <c:v>566.80882275514114</c:v>
                </c:pt>
                <c:pt idx="173" formatCode="0">
                  <c:v>595.49421481001377</c:v>
                </c:pt>
                <c:pt idx="174" formatCode="0">
                  <c:v>625.08737243624307</c:v>
                </c:pt>
                <c:pt idx="175" formatCode="0">
                  <c:v>655.95140186237188</c:v>
                </c:pt>
                <c:pt idx="176" formatCode="0">
                  <c:v>688.2678562026714</c:v>
                </c:pt>
                <c:pt idx="177" formatCode="0">
                  <c:v>722.39984168568435</c:v>
                </c:pt>
                <c:pt idx="178" formatCode="0">
                  <c:v>758.52891142568217</c:v>
                </c:pt>
                <c:pt idx="179" formatCode="0">
                  <c:v>796.29195919412211</c:v>
                </c:pt>
                <c:pt idx="180" formatCode="0">
                  <c:v>835.68898499100408</c:v>
                </c:pt>
                <c:pt idx="181" formatCode="0">
                  <c:v>876.90154193059948</c:v>
                </c:pt>
                <c:pt idx="182" formatCode="0">
                  <c:v>920.29273624145117</c:v>
                </c:pt>
                <c:pt idx="183" formatCode="0">
                  <c:v>965.8625679235588</c:v>
                </c:pt>
                <c:pt idx="184" formatCode="0">
                  <c:v>1013.7925900911941</c:v>
                </c:pt>
                <c:pt idx="185" formatCode="0">
                  <c:v>1063.9012496300857</c:v>
                </c:pt>
                <c:pt idx="186" formatCode="0">
                  <c:v>1116.5516527687757</c:v>
                </c:pt>
                <c:pt idx="187" formatCode="0">
                  <c:v>1171.7437995072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B7-42F9-96E3-A51B38B8C2B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392.51783305464926</c:v>
                </c:pt>
                <c:pt idx="165" formatCode="0">
                  <c:v>415.3935254528389</c:v>
                </c:pt>
                <c:pt idx="166" formatCode="0">
                  <c:v>439.72164276519919</c:v>
                </c:pt>
                <c:pt idx="167" formatCode="0">
                  <c:v>465.68373810600156</c:v>
                </c:pt>
                <c:pt idx="168" formatCode="0">
                  <c:v>493.46136458951753</c:v>
                </c:pt>
                <c:pt idx="169" formatCode="0">
                  <c:v>523.23607533001814</c:v>
                </c:pt>
                <c:pt idx="170" formatCode="0">
                  <c:v>555.18942344177503</c:v>
                </c:pt>
                <c:pt idx="171" formatCode="0">
                  <c:v>588.77674958197395</c:v>
                </c:pt>
                <c:pt idx="172" formatCode="0">
                  <c:v>626.35824423614258</c:v>
                </c:pt>
                <c:pt idx="173" formatCode="0">
                  <c:v>666.4814824901099</c:v>
                </c:pt>
                <c:pt idx="174" formatCode="0">
                  <c:v>709.14646434387612</c:v>
                </c:pt>
                <c:pt idx="175" formatCode="0">
                  <c:v>754.71629602598387</c:v>
                </c:pt>
                <c:pt idx="176" formatCode="0">
                  <c:v>803.00942442216183</c:v>
                </c:pt>
                <c:pt idx="177" formatCode="0">
                  <c:v>854.38895576095274</c:v>
                </c:pt>
                <c:pt idx="178" formatCode="0">
                  <c:v>909.0364431566278</c:v>
                </c:pt>
                <c:pt idx="179" formatCode="0">
                  <c:v>967.1334397234582</c:v>
                </c:pt>
                <c:pt idx="180" formatCode="0">
                  <c:v>1028.8614985757158</c:v>
                </c:pt>
                <c:pt idx="181" formatCode="0">
                  <c:v>1094.5837259419429</c:v>
                </c:pt>
                <c:pt idx="182" formatCode="0">
                  <c:v>1164.4816749364109</c:v>
                </c:pt>
                <c:pt idx="183" formatCode="0">
                  <c:v>1238.9184517876629</c:v>
                </c:pt>
                <c:pt idx="184" formatCode="0">
                  <c:v>1317.8940564956981</c:v>
                </c:pt>
                <c:pt idx="185" formatCode="0">
                  <c:v>1401.9531484033312</c:v>
                </c:pt>
                <c:pt idx="186" formatCode="0">
                  <c:v>1491.4588337391044</c:v>
                </c:pt>
                <c:pt idx="187" formatCode="0">
                  <c:v>1586.5926656172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9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20</c:v>
                </c:pt>
                <c:pt idx="1">
                  <c:v>17</c:v>
                </c:pt>
                <c:pt idx="2">
                  <c:v>140</c:v>
                </c:pt>
                <c:pt idx="3">
                  <c:v>66</c:v>
                </c:pt>
                <c:pt idx="4">
                  <c:v>91</c:v>
                </c:pt>
                <c:pt idx="5">
                  <c:v>51</c:v>
                </c:pt>
                <c:pt idx="6">
                  <c:v>50</c:v>
                </c:pt>
                <c:pt idx="7">
                  <c:v>19</c:v>
                </c:pt>
                <c:pt idx="8">
                  <c:v>17</c:v>
                </c:pt>
                <c:pt idx="9">
                  <c:v>61</c:v>
                </c:pt>
                <c:pt idx="10">
                  <c:v>71</c:v>
                </c:pt>
                <c:pt idx="11">
                  <c:v>51</c:v>
                </c:pt>
                <c:pt idx="12">
                  <c:v>44</c:v>
                </c:pt>
                <c:pt idx="13">
                  <c:v>43</c:v>
                </c:pt>
                <c:pt idx="14">
                  <c:v>0</c:v>
                </c:pt>
                <c:pt idx="15">
                  <c:v>11</c:v>
                </c:pt>
                <c:pt idx="16">
                  <c:v>46</c:v>
                </c:pt>
                <c:pt idx="17">
                  <c:v>51</c:v>
                </c:pt>
                <c:pt idx="18">
                  <c:v>24</c:v>
                </c:pt>
                <c:pt idx="19">
                  <c:v>19</c:v>
                </c:pt>
                <c:pt idx="20">
                  <c:v>25</c:v>
                </c:pt>
                <c:pt idx="21">
                  <c:v>3</c:v>
                </c:pt>
                <c:pt idx="22">
                  <c:v>2</c:v>
                </c:pt>
                <c:pt idx="23">
                  <c:v>23</c:v>
                </c:pt>
                <c:pt idx="24">
                  <c:v>27</c:v>
                </c:pt>
                <c:pt idx="25">
                  <c:v>10</c:v>
                </c:pt>
                <c:pt idx="26">
                  <c:v>11</c:v>
                </c:pt>
                <c:pt idx="27">
                  <c:v>9</c:v>
                </c:pt>
                <c:pt idx="28">
                  <c:v>6</c:v>
                </c:pt>
                <c:pt idx="29">
                  <c:v>4</c:v>
                </c:pt>
                <c:pt idx="30">
                  <c:v>30</c:v>
                </c:pt>
                <c:pt idx="31">
                  <c:v>11</c:v>
                </c:pt>
                <c:pt idx="32">
                  <c:v>12</c:v>
                </c:pt>
                <c:pt idx="33">
                  <c:v>15</c:v>
                </c:pt>
                <c:pt idx="34">
                  <c:v>17</c:v>
                </c:pt>
                <c:pt idx="35">
                  <c:v>1</c:v>
                </c:pt>
                <c:pt idx="36">
                  <c:v>4</c:v>
                </c:pt>
                <c:pt idx="37">
                  <c:v>12</c:v>
                </c:pt>
                <c:pt idx="38">
                  <c:v>16</c:v>
                </c:pt>
                <c:pt idx="39">
                  <c:v>7</c:v>
                </c:pt>
                <c:pt idx="40">
                  <c:v>0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7</c:v>
                </c:pt>
                <c:pt idx="45">
                  <c:v>6</c:v>
                </c:pt>
                <c:pt idx="46">
                  <c:v>3</c:v>
                </c:pt>
                <c:pt idx="47">
                  <c:v>2</c:v>
                </c:pt>
                <c:pt idx="48">
                  <c:v>5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1</c:v>
                </c:pt>
                <c:pt idx="53">
                  <c:v>11</c:v>
                </c:pt>
                <c:pt idx="54">
                  <c:v>4</c:v>
                </c:pt>
                <c:pt idx="55">
                  <c:v>5</c:v>
                </c:pt>
                <c:pt idx="56">
                  <c:v>2</c:v>
                </c:pt>
                <c:pt idx="57">
                  <c:v>2</c:v>
                </c:pt>
                <c:pt idx="58">
                  <c:v>5</c:v>
                </c:pt>
                <c:pt idx="59">
                  <c:v>3</c:v>
                </c:pt>
                <c:pt idx="60">
                  <c:v>4</c:v>
                </c:pt>
                <c:pt idx="61">
                  <c:v>5</c:v>
                </c:pt>
                <c:pt idx="62">
                  <c:v>2</c:v>
                </c:pt>
                <c:pt idx="63">
                  <c:v>2</c:v>
                </c:pt>
                <c:pt idx="64">
                  <c:v>4</c:v>
                </c:pt>
                <c:pt idx="65">
                  <c:v>4</c:v>
                </c:pt>
                <c:pt idx="66">
                  <c:v>2</c:v>
                </c:pt>
                <c:pt idx="67">
                  <c:v>3</c:v>
                </c:pt>
                <c:pt idx="68">
                  <c:v>7</c:v>
                </c:pt>
                <c:pt idx="69">
                  <c:v>14</c:v>
                </c:pt>
                <c:pt idx="70">
                  <c:v>11</c:v>
                </c:pt>
                <c:pt idx="71">
                  <c:v>11</c:v>
                </c:pt>
                <c:pt idx="72">
                  <c:v>15</c:v>
                </c:pt>
                <c:pt idx="73">
                  <c:v>19</c:v>
                </c:pt>
                <c:pt idx="74">
                  <c:v>9</c:v>
                </c:pt>
                <c:pt idx="75">
                  <c:v>11</c:v>
                </c:pt>
                <c:pt idx="76">
                  <c:v>8</c:v>
                </c:pt>
                <c:pt idx="77">
                  <c:v>3</c:v>
                </c:pt>
                <c:pt idx="78">
                  <c:v>1</c:v>
                </c:pt>
                <c:pt idx="79">
                  <c:v>10</c:v>
                </c:pt>
                <c:pt idx="80">
                  <c:v>8</c:v>
                </c:pt>
                <c:pt idx="81">
                  <c:v>3</c:v>
                </c:pt>
                <c:pt idx="82">
                  <c:v>6</c:v>
                </c:pt>
                <c:pt idx="83">
                  <c:v>4</c:v>
                </c:pt>
                <c:pt idx="84">
                  <c:v>1</c:v>
                </c:pt>
                <c:pt idx="85">
                  <c:v>8</c:v>
                </c:pt>
                <c:pt idx="86">
                  <c:v>7</c:v>
                </c:pt>
                <c:pt idx="87">
                  <c:v>14</c:v>
                </c:pt>
                <c:pt idx="88">
                  <c:v>11</c:v>
                </c:pt>
                <c:pt idx="89">
                  <c:v>15</c:v>
                </c:pt>
                <c:pt idx="90">
                  <c:v>5</c:v>
                </c:pt>
                <c:pt idx="91">
                  <c:v>7</c:v>
                </c:pt>
                <c:pt idx="92">
                  <c:v>11</c:v>
                </c:pt>
                <c:pt idx="93">
                  <c:v>6</c:v>
                </c:pt>
                <c:pt idx="94">
                  <c:v>13</c:v>
                </c:pt>
                <c:pt idx="95">
                  <c:v>9</c:v>
                </c:pt>
                <c:pt idx="96">
                  <c:v>5</c:v>
                </c:pt>
                <c:pt idx="97">
                  <c:v>6</c:v>
                </c:pt>
                <c:pt idx="98">
                  <c:v>3</c:v>
                </c:pt>
                <c:pt idx="99">
                  <c:v>4</c:v>
                </c:pt>
                <c:pt idx="100">
                  <c:v>11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3</c:v>
                </c:pt>
                <c:pt idx="105">
                  <c:v>1</c:v>
                </c:pt>
                <c:pt idx="106">
                  <c:v>1</c:v>
                </c:pt>
                <c:pt idx="107">
                  <c:v>7</c:v>
                </c:pt>
                <c:pt idx="108">
                  <c:v>5</c:v>
                </c:pt>
                <c:pt idx="109">
                  <c:v>9</c:v>
                </c:pt>
                <c:pt idx="110">
                  <c:v>3</c:v>
                </c:pt>
                <c:pt idx="111">
                  <c:v>1</c:v>
                </c:pt>
                <c:pt idx="112">
                  <c:v>5</c:v>
                </c:pt>
                <c:pt idx="113">
                  <c:v>2</c:v>
                </c:pt>
                <c:pt idx="114">
                  <c:v>3</c:v>
                </c:pt>
                <c:pt idx="115">
                  <c:v>8</c:v>
                </c:pt>
                <c:pt idx="116">
                  <c:v>9</c:v>
                </c:pt>
                <c:pt idx="117">
                  <c:v>4</c:v>
                </c:pt>
                <c:pt idx="118">
                  <c:v>2</c:v>
                </c:pt>
                <c:pt idx="119">
                  <c:v>2</c:v>
                </c:pt>
                <c:pt idx="120">
                  <c:v>4</c:v>
                </c:pt>
                <c:pt idx="121">
                  <c:v>5</c:v>
                </c:pt>
                <c:pt idx="122">
                  <c:v>9</c:v>
                </c:pt>
                <c:pt idx="123">
                  <c:v>7</c:v>
                </c:pt>
                <c:pt idx="124">
                  <c:v>18</c:v>
                </c:pt>
                <c:pt idx="125">
                  <c:v>8</c:v>
                </c:pt>
                <c:pt idx="126">
                  <c:v>12</c:v>
                </c:pt>
                <c:pt idx="127">
                  <c:v>5</c:v>
                </c:pt>
                <c:pt idx="128">
                  <c:v>14</c:v>
                </c:pt>
                <c:pt idx="129">
                  <c:v>30</c:v>
                </c:pt>
                <c:pt idx="130">
                  <c:v>13</c:v>
                </c:pt>
                <c:pt idx="131">
                  <c:v>23</c:v>
                </c:pt>
                <c:pt idx="132">
                  <c:v>24</c:v>
                </c:pt>
                <c:pt idx="133">
                  <c:v>16</c:v>
                </c:pt>
                <c:pt idx="134">
                  <c:v>7</c:v>
                </c:pt>
                <c:pt idx="135">
                  <c:v>17</c:v>
                </c:pt>
                <c:pt idx="136">
                  <c:v>24</c:v>
                </c:pt>
                <c:pt idx="137">
                  <c:v>21</c:v>
                </c:pt>
                <c:pt idx="138">
                  <c:v>20</c:v>
                </c:pt>
                <c:pt idx="139">
                  <c:v>13</c:v>
                </c:pt>
                <c:pt idx="140">
                  <c:v>16</c:v>
                </c:pt>
                <c:pt idx="141">
                  <c:v>6</c:v>
                </c:pt>
                <c:pt idx="142">
                  <c:v>22</c:v>
                </c:pt>
                <c:pt idx="143">
                  <c:v>29</c:v>
                </c:pt>
                <c:pt idx="144">
                  <c:v>22</c:v>
                </c:pt>
                <c:pt idx="145">
                  <c:v>11</c:v>
                </c:pt>
                <c:pt idx="146">
                  <c:v>14</c:v>
                </c:pt>
                <c:pt idx="147">
                  <c:v>9</c:v>
                </c:pt>
                <c:pt idx="148">
                  <c:v>5</c:v>
                </c:pt>
                <c:pt idx="149">
                  <c:v>14</c:v>
                </c:pt>
                <c:pt idx="150">
                  <c:v>27</c:v>
                </c:pt>
                <c:pt idx="151">
                  <c:v>26</c:v>
                </c:pt>
                <c:pt idx="152">
                  <c:v>18</c:v>
                </c:pt>
                <c:pt idx="153">
                  <c:v>18</c:v>
                </c:pt>
                <c:pt idx="154">
                  <c:v>11</c:v>
                </c:pt>
                <c:pt idx="155">
                  <c:v>21</c:v>
                </c:pt>
                <c:pt idx="156">
                  <c:v>24</c:v>
                </c:pt>
                <c:pt idx="157">
                  <c:v>38</c:v>
                </c:pt>
                <c:pt idx="158">
                  <c:v>26</c:v>
                </c:pt>
                <c:pt idx="159">
                  <c:v>31</c:v>
                </c:pt>
                <c:pt idx="160">
                  <c:v>24</c:v>
                </c:pt>
                <c:pt idx="161">
                  <c:v>34</c:v>
                </c:pt>
                <c:pt idx="162">
                  <c:v>24</c:v>
                </c:pt>
                <c:pt idx="163">
                  <c:v>35</c:v>
                </c:pt>
                <c:pt idx="164">
                  <c:v>45</c:v>
                </c:pt>
                <c:pt idx="165">
                  <c:v>55</c:v>
                </c:pt>
                <c:pt idx="166">
                  <c:v>60</c:v>
                </c:pt>
                <c:pt idx="167">
                  <c:v>57</c:v>
                </c:pt>
                <c:pt idx="168">
                  <c:v>43</c:v>
                </c:pt>
                <c:pt idx="169">
                  <c:v>30</c:v>
                </c:pt>
                <c:pt idx="170">
                  <c:v>99</c:v>
                </c:pt>
                <c:pt idx="171">
                  <c:v>145</c:v>
                </c:pt>
                <c:pt idx="172">
                  <c:v>111</c:v>
                </c:pt>
                <c:pt idx="173">
                  <c:v>113</c:v>
                </c:pt>
                <c:pt idx="174">
                  <c:v>134</c:v>
                </c:pt>
                <c:pt idx="175">
                  <c:v>67</c:v>
                </c:pt>
                <c:pt idx="176">
                  <c:v>95</c:v>
                </c:pt>
                <c:pt idx="177">
                  <c:v>188</c:v>
                </c:pt>
                <c:pt idx="178">
                  <c:v>201</c:v>
                </c:pt>
                <c:pt idx="179">
                  <c:v>201</c:v>
                </c:pt>
                <c:pt idx="180">
                  <c:v>129</c:v>
                </c:pt>
                <c:pt idx="181">
                  <c:v>251</c:v>
                </c:pt>
                <c:pt idx="182">
                  <c:v>192</c:v>
                </c:pt>
                <c:pt idx="183">
                  <c:v>102</c:v>
                </c:pt>
                <c:pt idx="184">
                  <c:v>343</c:v>
                </c:pt>
                <c:pt idx="185">
                  <c:v>384</c:v>
                </c:pt>
                <c:pt idx="186">
                  <c:v>404</c:v>
                </c:pt>
                <c:pt idx="187">
                  <c:v>309</c:v>
                </c:pt>
                <c:pt idx="188">
                  <c:v>422</c:v>
                </c:pt>
                <c:pt idx="189">
                  <c:v>291</c:v>
                </c:pt>
                <c:pt idx="190">
                  <c:v>191</c:v>
                </c:pt>
                <c:pt idx="191">
                  <c:v>518</c:v>
                </c:pt>
                <c:pt idx="192">
                  <c:v>451</c:v>
                </c:pt>
                <c:pt idx="193">
                  <c:v>572</c:v>
                </c:pt>
                <c:pt idx="194">
                  <c:v>623</c:v>
                </c:pt>
                <c:pt idx="195">
                  <c:v>589</c:v>
                </c:pt>
                <c:pt idx="196">
                  <c:v>446</c:v>
                </c:pt>
                <c:pt idx="197">
                  <c:v>286</c:v>
                </c:pt>
                <c:pt idx="198">
                  <c:v>787</c:v>
                </c:pt>
                <c:pt idx="199">
                  <c:v>1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1-4E02-9EA0-D010686661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594</c:v>
                </c:pt>
                <c:pt idx="196">
                  <c:v>595</c:v>
                </c:pt>
                <c:pt idx="197">
                  <c:v>612</c:v>
                </c:pt>
                <c:pt idx="198">
                  <c:v>638</c:v>
                </c:pt>
                <c:pt idx="199">
                  <c:v>654</c:v>
                </c:pt>
                <c:pt idx="200">
                  <c:v>664</c:v>
                </c:pt>
                <c:pt idx="201">
                  <c:v>670</c:v>
                </c:pt>
                <c:pt idx="202">
                  <c:v>675</c:v>
                </c:pt>
                <c:pt idx="203">
                  <c:v>691</c:v>
                </c:pt>
                <c:pt idx="204">
                  <c:v>710</c:v>
                </c:pt>
                <c:pt idx="205">
                  <c:v>726</c:v>
                </c:pt>
                <c:pt idx="206">
                  <c:v>736</c:v>
                </c:pt>
                <c:pt idx="207">
                  <c:v>746</c:v>
                </c:pt>
                <c:pt idx="208">
                  <c:v>758</c:v>
                </c:pt>
                <c:pt idx="209">
                  <c:v>774</c:v>
                </c:pt>
                <c:pt idx="210">
                  <c:v>790</c:v>
                </c:pt>
                <c:pt idx="211">
                  <c:v>805</c:v>
                </c:pt>
                <c:pt idx="212">
                  <c:v>819</c:v>
                </c:pt>
                <c:pt idx="213">
                  <c:v>832</c:v>
                </c:pt>
                <c:pt idx="214">
                  <c:v>847</c:v>
                </c:pt>
                <c:pt idx="215">
                  <c:v>863</c:v>
                </c:pt>
                <c:pt idx="216">
                  <c:v>880</c:v>
                </c:pt>
                <c:pt idx="217">
                  <c:v>896</c:v>
                </c:pt>
                <c:pt idx="218">
                  <c:v>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1-4E02-9EA0-D010686661C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615</c:v>
                </c:pt>
                <c:pt idx="196">
                  <c:v>631</c:v>
                </c:pt>
                <c:pt idx="197">
                  <c:v>656</c:v>
                </c:pt>
                <c:pt idx="198">
                  <c:v>689</c:v>
                </c:pt>
                <c:pt idx="199">
                  <c:v>716</c:v>
                </c:pt>
                <c:pt idx="200">
                  <c:v>739</c:v>
                </c:pt>
                <c:pt idx="201">
                  <c:v>760</c:v>
                </c:pt>
                <c:pt idx="202">
                  <c:v>782</c:v>
                </c:pt>
                <c:pt idx="203">
                  <c:v>811</c:v>
                </c:pt>
                <c:pt idx="204">
                  <c:v>843</c:v>
                </c:pt>
                <c:pt idx="205">
                  <c:v>874</c:v>
                </c:pt>
                <c:pt idx="206">
                  <c:v>902</c:v>
                </c:pt>
                <c:pt idx="207">
                  <c:v>931</c:v>
                </c:pt>
                <c:pt idx="208">
                  <c:v>962</c:v>
                </c:pt>
                <c:pt idx="209">
                  <c:v>996</c:v>
                </c:pt>
                <c:pt idx="210">
                  <c:v>1032</c:v>
                </c:pt>
                <c:pt idx="211">
                  <c:v>1068</c:v>
                </c:pt>
                <c:pt idx="212">
                  <c:v>1104</c:v>
                </c:pt>
                <c:pt idx="213">
                  <c:v>1140</c:v>
                </c:pt>
                <c:pt idx="214">
                  <c:v>1180</c:v>
                </c:pt>
                <c:pt idx="215">
                  <c:v>1221</c:v>
                </c:pt>
                <c:pt idx="216">
                  <c:v>1263</c:v>
                </c:pt>
                <c:pt idx="217">
                  <c:v>1307</c:v>
                </c:pt>
                <c:pt idx="218">
                  <c:v>1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1-4E02-9EA0-D010686661C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637</c:v>
                </c:pt>
                <c:pt idx="196">
                  <c:v>666</c:v>
                </c:pt>
                <c:pt idx="197">
                  <c:v>701</c:v>
                </c:pt>
                <c:pt idx="198">
                  <c:v>741</c:v>
                </c:pt>
                <c:pt idx="199">
                  <c:v>779</c:v>
                </c:pt>
                <c:pt idx="200">
                  <c:v>817</c:v>
                </c:pt>
                <c:pt idx="201">
                  <c:v>855</c:v>
                </c:pt>
                <c:pt idx="202">
                  <c:v>895</c:v>
                </c:pt>
                <c:pt idx="203">
                  <c:v>941</c:v>
                </c:pt>
                <c:pt idx="204">
                  <c:v>990</c:v>
                </c:pt>
                <c:pt idx="205">
                  <c:v>1040</c:v>
                </c:pt>
                <c:pt idx="206">
                  <c:v>1091</c:v>
                </c:pt>
                <c:pt idx="207">
                  <c:v>1143</c:v>
                </c:pt>
                <c:pt idx="208">
                  <c:v>1200</c:v>
                </c:pt>
                <c:pt idx="209">
                  <c:v>1260</c:v>
                </c:pt>
                <c:pt idx="210">
                  <c:v>1323</c:v>
                </c:pt>
                <c:pt idx="211">
                  <c:v>1389</c:v>
                </c:pt>
                <c:pt idx="212">
                  <c:v>1457</c:v>
                </c:pt>
                <c:pt idx="213">
                  <c:v>1529</c:v>
                </c:pt>
                <c:pt idx="214">
                  <c:v>1604</c:v>
                </c:pt>
                <c:pt idx="215">
                  <c:v>1684</c:v>
                </c:pt>
                <c:pt idx="216">
                  <c:v>1768</c:v>
                </c:pt>
                <c:pt idx="217">
                  <c:v>1855</c:v>
                </c:pt>
                <c:pt idx="218">
                  <c:v>1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1-4E02-9EA0-D010686661C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658</c:v>
                </c:pt>
                <c:pt idx="196">
                  <c:v>701</c:v>
                </c:pt>
                <c:pt idx="197">
                  <c:v>746</c:v>
                </c:pt>
                <c:pt idx="198">
                  <c:v>792</c:v>
                </c:pt>
                <c:pt idx="199">
                  <c:v>843</c:v>
                </c:pt>
                <c:pt idx="200">
                  <c:v>897</c:v>
                </c:pt>
                <c:pt idx="201">
                  <c:v>955</c:v>
                </c:pt>
                <c:pt idx="202">
                  <c:v>1017</c:v>
                </c:pt>
                <c:pt idx="203">
                  <c:v>1082</c:v>
                </c:pt>
                <c:pt idx="204">
                  <c:v>1150</c:v>
                </c:pt>
                <c:pt idx="205">
                  <c:v>1224</c:v>
                </c:pt>
                <c:pt idx="206">
                  <c:v>1302</c:v>
                </c:pt>
                <c:pt idx="207">
                  <c:v>1386</c:v>
                </c:pt>
                <c:pt idx="208">
                  <c:v>1474</c:v>
                </c:pt>
                <c:pt idx="209">
                  <c:v>1568</c:v>
                </c:pt>
                <c:pt idx="210">
                  <c:v>1668</c:v>
                </c:pt>
                <c:pt idx="211">
                  <c:v>1775</c:v>
                </c:pt>
                <c:pt idx="212">
                  <c:v>1888</c:v>
                </c:pt>
                <c:pt idx="213">
                  <c:v>2009</c:v>
                </c:pt>
                <c:pt idx="214">
                  <c:v>2137</c:v>
                </c:pt>
                <c:pt idx="215">
                  <c:v>2273</c:v>
                </c:pt>
                <c:pt idx="216">
                  <c:v>2418</c:v>
                </c:pt>
                <c:pt idx="217">
                  <c:v>2572</c:v>
                </c:pt>
                <c:pt idx="218">
                  <c:v>2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General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General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46289490053848</c:v>
                </c:pt>
                <c:pt idx="1">
                  <c:v>24.715521543758573</c:v>
                </c:pt>
                <c:pt idx="2">
                  <c:v>23.977326382338184</c:v>
                </c:pt>
                <c:pt idx="3">
                  <c:v>22.743886365787663</c:v>
                </c:pt>
                <c:pt idx="4">
                  <c:v>22.099133629863527</c:v>
                </c:pt>
                <c:pt idx="5">
                  <c:v>21.958969991619149</c:v>
                </c:pt>
                <c:pt idx="6">
                  <c:v>19.92192511580086</c:v>
                </c:pt>
                <c:pt idx="7">
                  <c:v>19.03422207358647</c:v>
                </c:pt>
                <c:pt idx="8">
                  <c:v>18.081109333524704</c:v>
                </c:pt>
                <c:pt idx="9">
                  <c:v>15.857179606713913</c:v>
                </c:pt>
                <c:pt idx="10">
                  <c:v>14.520952922117514</c:v>
                </c:pt>
                <c:pt idx="11">
                  <c:v>13.7734135181475</c:v>
                </c:pt>
                <c:pt idx="12">
                  <c:v>13.240791692818865</c:v>
                </c:pt>
                <c:pt idx="13">
                  <c:v>12.100794101764594</c:v>
                </c:pt>
                <c:pt idx="14">
                  <c:v>10.456207413030565</c:v>
                </c:pt>
                <c:pt idx="15">
                  <c:v>9.3162098219762939</c:v>
                </c:pt>
                <c:pt idx="16">
                  <c:v>9.0171940603882881</c:v>
                </c:pt>
                <c:pt idx="17">
                  <c:v>8.6808013286017829</c:v>
                </c:pt>
                <c:pt idx="18">
                  <c:v>8.58735890310553</c:v>
                </c:pt>
                <c:pt idx="19">
                  <c:v>8.7368667838995329</c:v>
                </c:pt>
                <c:pt idx="20">
                  <c:v>8.2135892011205236</c:v>
                </c:pt>
                <c:pt idx="21">
                  <c:v>7.3071976738068818</c:v>
                </c:pt>
                <c:pt idx="22">
                  <c:v>7.0922800951655036</c:v>
                </c:pt>
                <c:pt idx="23">
                  <c:v>6.5222812996383679</c:v>
                </c:pt>
                <c:pt idx="24">
                  <c:v>6.4101503890428662</c:v>
                </c:pt>
                <c:pt idx="25">
                  <c:v>6.4568716017909917</c:v>
                </c:pt>
                <c:pt idx="26">
                  <c:v>6.4662158443406179</c:v>
                </c:pt>
                <c:pt idx="27">
                  <c:v>6.7745758484782481</c:v>
                </c:pt>
                <c:pt idx="28">
                  <c:v>7.1857225206617557</c:v>
                </c:pt>
                <c:pt idx="29">
                  <c:v>7.4753940397001353</c:v>
                </c:pt>
                <c:pt idx="30">
                  <c:v>8.1294910181738977</c:v>
                </c:pt>
                <c:pt idx="31">
                  <c:v>8.4285067797619035</c:v>
                </c:pt>
                <c:pt idx="32">
                  <c:v>8.9704728476401634</c:v>
                </c:pt>
                <c:pt idx="33">
                  <c:v>9.4376849751214209</c:v>
                </c:pt>
                <c:pt idx="34">
                  <c:v>9.232111639029668</c:v>
                </c:pt>
                <c:pt idx="35">
                  <c:v>8.8022764817469099</c:v>
                </c:pt>
                <c:pt idx="36">
                  <c:v>10.138503166343309</c:v>
                </c:pt>
                <c:pt idx="37">
                  <c:v>10.904731055412572</c:v>
                </c:pt>
                <c:pt idx="38">
                  <c:v>12.035384403917218</c:v>
                </c:pt>
                <c:pt idx="39">
                  <c:v>12.325055922955599</c:v>
                </c:pt>
                <c:pt idx="40">
                  <c:v>12.698825624940605</c:v>
                </c:pt>
                <c:pt idx="41">
                  <c:v>13.7734135181475</c:v>
                </c:pt>
                <c:pt idx="42">
                  <c:v>15.754392938668037</c:v>
                </c:pt>
                <c:pt idx="43">
                  <c:v>15.586196572774783</c:v>
                </c:pt>
                <c:pt idx="44">
                  <c:v>15.371278994133405</c:v>
                </c:pt>
                <c:pt idx="45">
                  <c:v>14.969476564499521</c:v>
                </c:pt>
                <c:pt idx="46">
                  <c:v>15.343246266484529</c:v>
                </c:pt>
                <c:pt idx="47">
                  <c:v>15.044230504896523</c:v>
                </c:pt>
                <c:pt idx="48">
                  <c:v>14.801280198606268</c:v>
                </c:pt>
                <c:pt idx="49">
                  <c:v>14.595706862514515</c:v>
                </c:pt>
                <c:pt idx="50">
                  <c:v>14.315379586025761</c:v>
                </c:pt>
                <c:pt idx="51">
                  <c:v>14.04439655208663</c:v>
                </c:pt>
                <c:pt idx="52">
                  <c:v>13.549151696956496</c:v>
                </c:pt>
                <c:pt idx="53">
                  <c:v>12.876366233383484</c:v>
                </c:pt>
                <c:pt idx="54">
                  <c:v>12.549317744146602</c:v>
                </c:pt>
                <c:pt idx="55">
                  <c:v>12.353088650604473</c:v>
                </c:pt>
                <c:pt idx="56">
                  <c:v>11.923253493321717</c:v>
                </c:pt>
                <c:pt idx="57">
                  <c:v>11.54948379133671</c:v>
                </c:pt>
                <c:pt idx="58">
                  <c:v>11.624237731733711</c:v>
                </c:pt>
                <c:pt idx="59">
                  <c:v>11.147681361702826</c:v>
                </c:pt>
                <c:pt idx="60">
                  <c:v>11.054238936206575</c:v>
                </c:pt>
                <c:pt idx="61">
                  <c:v>11.016861966008076</c:v>
                </c:pt>
                <c:pt idx="62">
                  <c:v>10.587026808725318</c:v>
                </c:pt>
                <c:pt idx="63">
                  <c:v>10.437518927931315</c:v>
                </c:pt>
                <c:pt idx="64">
                  <c:v>10.587026808725318</c:v>
                </c:pt>
                <c:pt idx="65">
                  <c:v>10.203912864190684</c:v>
                </c:pt>
                <c:pt idx="66">
                  <c:v>10.540305595977191</c:v>
                </c:pt>
                <c:pt idx="67">
                  <c:v>10.904731055412572</c:v>
                </c:pt>
                <c:pt idx="68">
                  <c:v>11.175714089351704</c:v>
                </c:pt>
                <c:pt idx="69">
                  <c:v>11.343910455244957</c:v>
                </c:pt>
                <c:pt idx="70">
                  <c:v>11.54948379133671</c:v>
                </c:pt>
                <c:pt idx="71">
                  <c:v>11.652270459382587</c:v>
                </c:pt>
                <c:pt idx="72">
                  <c:v>11.895220765672841</c:v>
                </c:pt>
                <c:pt idx="73">
                  <c:v>12.315711680405974</c:v>
                </c:pt>
                <c:pt idx="74">
                  <c:v>12.203580769810472</c:v>
                </c:pt>
                <c:pt idx="75">
                  <c:v>11.932597735871342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0465620802974</c:v>
                </c:pt>
                <c:pt idx="80">
                  <c:v>11.932597735871342</c:v>
                </c:pt>
                <c:pt idx="81">
                  <c:v>11.857843795474341</c:v>
                </c:pt>
                <c:pt idx="82">
                  <c:v>12.138171071963095</c:v>
                </c:pt>
                <c:pt idx="83">
                  <c:v>12.100794101764594</c:v>
                </c:pt>
                <c:pt idx="84">
                  <c:v>11.614893489184086</c:v>
                </c:pt>
                <c:pt idx="85">
                  <c:v>11.979318948619468</c:v>
                </c:pt>
                <c:pt idx="86">
                  <c:v>12.409154105902227</c:v>
                </c:pt>
                <c:pt idx="87">
                  <c:v>12.521285016497727</c:v>
                </c:pt>
                <c:pt idx="88">
                  <c:v>12.511940773948101</c:v>
                </c:pt>
                <c:pt idx="89">
                  <c:v>12.268990467657849</c:v>
                </c:pt>
                <c:pt idx="90">
                  <c:v>12.549317744146602</c:v>
                </c:pt>
                <c:pt idx="91">
                  <c:v>12.960464416330112</c:v>
                </c:pt>
                <c:pt idx="92">
                  <c:v>13.100628054574489</c:v>
                </c:pt>
                <c:pt idx="93">
                  <c:v>13.978986854239254</c:v>
                </c:pt>
                <c:pt idx="94">
                  <c:v>15.147017172942402</c:v>
                </c:pt>
                <c:pt idx="95">
                  <c:v>15.829146879065039</c:v>
                </c:pt>
                <c:pt idx="96">
                  <c:v>16.380457189492923</c:v>
                </c:pt>
                <c:pt idx="97">
                  <c:v>17.791437814486322</c:v>
                </c:pt>
                <c:pt idx="98">
                  <c:v>20.510612396427248</c:v>
                </c:pt>
                <c:pt idx="99">
                  <c:v>21.622577259832642</c:v>
                </c:pt>
                <c:pt idx="100">
                  <c:v>22.678476667940288</c:v>
                </c:pt>
                <c:pt idx="101">
                  <c:v>23.958637897238937</c:v>
                </c:pt>
                <c:pt idx="102">
                  <c:v>24.369784569422443</c:v>
                </c:pt>
                <c:pt idx="103">
                  <c:v>24.332407599223941</c:v>
                </c:pt>
                <c:pt idx="104">
                  <c:v>25.26683185418646</c:v>
                </c:pt>
                <c:pt idx="105">
                  <c:v>25.005193062796955</c:v>
                </c:pt>
                <c:pt idx="106">
                  <c:v>26.332075504843729</c:v>
                </c:pt>
                <c:pt idx="107">
                  <c:v>27.612236734142378</c:v>
                </c:pt>
                <c:pt idx="108">
                  <c:v>27.593548249043128</c:v>
                </c:pt>
                <c:pt idx="109">
                  <c:v>28.070104619074009</c:v>
                </c:pt>
                <c:pt idx="110">
                  <c:v>28.54666098910489</c:v>
                </c:pt>
                <c:pt idx="111">
                  <c:v>28.443874321059017</c:v>
                </c:pt>
                <c:pt idx="112">
                  <c:v>28.826988265593648</c:v>
                </c:pt>
                <c:pt idx="113">
                  <c:v>28.826988265593648</c:v>
                </c:pt>
                <c:pt idx="114">
                  <c:v>28.154202802020635</c:v>
                </c:pt>
                <c:pt idx="115">
                  <c:v>28.752234325196646</c:v>
                </c:pt>
                <c:pt idx="116">
                  <c:v>29.808133733304292</c:v>
                </c:pt>
                <c:pt idx="117">
                  <c:v>30.387476771381053</c:v>
                </c:pt>
                <c:pt idx="118">
                  <c:v>32.162882855809833</c:v>
                </c:pt>
                <c:pt idx="119">
                  <c:v>31.013541022205942</c:v>
                </c:pt>
                <c:pt idx="120">
                  <c:v>32.966487715077598</c:v>
                </c:pt>
                <c:pt idx="121">
                  <c:v>37.049921709263799</c:v>
                </c:pt>
                <c:pt idx="122">
                  <c:v>40.049423567693481</c:v>
                </c:pt>
                <c:pt idx="123">
                  <c:v>41.338929039541753</c:v>
                </c:pt>
                <c:pt idx="124">
                  <c:v>41.98368177546589</c:v>
                </c:pt>
                <c:pt idx="125">
                  <c:v>43.207777549466783</c:v>
                </c:pt>
                <c:pt idx="126">
                  <c:v>49.160060053578022</c:v>
                </c:pt>
                <c:pt idx="127">
                  <c:v>52.112840699259571</c:v>
                </c:pt>
                <c:pt idx="128">
                  <c:v>52.757593435183708</c:v>
                </c:pt>
                <c:pt idx="129">
                  <c:v>54.532999519612495</c:v>
                </c:pt>
                <c:pt idx="130">
                  <c:v>55.598243170269754</c:v>
                </c:pt>
                <c:pt idx="131">
                  <c:v>55.766439536163006</c:v>
                </c:pt>
                <c:pt idx="132">
                  <c:v>60.82167475551023</c:v>
                </c:pt>
                <c:pt idx="133">
                  <c:v>64.531339047711413</c:v>
                </c:pt>
                <c:pt idx="134">
                  <c:v>68.745592437592364</c:v>
                </c:pt>
                <c:pt idx="135">
                  <c:v>73.894270082435838</c:v>
                </c:pt>
                <c:pt idx="136">
                  <c:v>81.051959875448716</c:v>
                </c:pt>
                <c:pt idx="137">
                  <c:v>85.64932720986431</c:v>
                </c:pt>
                <c:pt idx="138">
                  <c:v>89.93833454014225</c:v>
                </c:pt>
                <c:pt idx="139">
                  <c:v>101.02060620399772</c:v>
                </c:pt>
                <c:pt idx="140">
                  <c:v>117.29827672544477</c:v>
                </c:pt>
                <c:pt idx="141">
                  <c:v>133.92168422122793</c:v>
                </c:pt>
                <c:pt idx="142">
                  <c:v>153.57262630308966</c:v>
                </c:pt>
                <c:pt idx="143">
                  <c:v>176.49405327732021</c:v>
                </c:pt>
                <c:pt idx="144">
                  <c:v>191.42615287162124</c:v>
                </c:pt>
                <c:pt idx="145">
                  <c:v>201.16285360833064</c:v>
                </c:pt>
                <c:pt idx="146">
                  <c:v>217.54331079782358</c:v>
                </c:pt>
                <c:pt idx="147">
                  <c:v>245.93111966358484</c:v>
                </c:pt>
                <c:pt idx="148">
                  <c:v>269.91779028847264</c:v>
                </c:pt>
                <c:pt idx="149">
                  <c:v>276.55220249870655</c:v>
                </c:pt>
                <c:pt idx="150">
                  <c:v>290.66200874864052</c:v>
                </c:pt>
                <c:pt idx="151">
                  <c:v>312.16311085532806</c:v>
                </c:pt>
                <c:pt idx="152">
                  <c:v>320.89997763922759</c:v>
                </c:pt>
                <c:pt idx="153">
                  <c:v>351.87614169123503</c:v>
                </c:pt>
                <c:pt idx="154">
                  <c:v>385.72098820597739</c:v>
                </c:pt>
                <c:pt idx="155">
                  <c:v>419.55649047817013</c:v>
                </c:pt>
                <c:pt idx="156">
                  <c:v>457.73706553593854</c:v>
                </c:pt>
                <c:pt idx="157">
                  <c:v>490.38584900432892</c:v>
                </c:pt>
                <c:pt idx="158">
                  <c:v>496.74927818062366</c:v>
                </c:pt>
                <c:pt idx="159">
                  <c:v>498.93583093723595</c:v>
                </c:pt>
                <c:pt idx="160">
                  <c:v>514.5033390249115</c:v>
                </c:pt>
                <c:pt idx="161">
                  <c:v>557.94472263811883</c:v>
                </c:pt>
                <c:pt idx="162">
                  <c:v>595.77021647900153</c:v>
                </c:pt>
                <c:pt idx="163">
                  <c:v>614.22509551451128</c:v>
                </c:pt>
                <c:pt idx="164">
                  <c:v>660.85286583714083</c:v>
                </c:pt>
                <c:pt idx="165">
                  <c:v>692.92230626745447</c:v>
                </c:pt>
                <c:pt idx="166">
                  <c:v>717.74061447925897</c:v>
                </c:pt>
                <c:pt idx="167">
                  <c:v>739.13892991790055</c:v>
                </c:pt>
                <c:pt idx="168">
                  <c:v>813.15467515348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25.06550783174396</c:v>
                </c:pt>
                <c:pt idx="165" formatCode="0">
                  <c:v>645.23307298493933</c:v>
                </c:pt>
                <c:pt idx="166" formatCode="0">
                  <c:v>663.38465111031746</c:v>
                </c:pt>
                <c:pt idx="167" formatCode="0">
                  <c:v>680.75472770979945</c:v>
                </c:pt>
                <c:pt idx="168" formatCode="0">
                  <c:v>695.42644691107682</c:v>
                </c:pt>
                <c:pt idx="169" formatCode="0">
                  <c:v>706.14084004505116</c:v>
                </c:pt>
                <c:pt idx="170" formatCode="0">
                  <c:v>712.0128895995266</c:v>
                </c:pt>
                <c:pt idx="171" formatCode="0">
                  <c:v>722.3430952000291</c:v>
                </c:pt>
                <c:pt idx="172" formatCode="0">
                  <c:v>737.68391533491433</c:v>
                </c:pt>
                <c:pt idx="173" formatCode="0">
                  <c:v>753.33903519939224</c:v>
                </c:pt>
                <c:pt idx="174" formatCode="0">
                  <c:v>767.38523978143087</c:v>
                </c:pt>
                <c:pt idx="175" formatCode="0">
                  <c:v>780.51847848227158</c:v>
                </c:pt>
                <c:pt idx="176" formatCode="0">
                  <c:v>793.67416716379751</c:v>
                </c:pt>
                <c:pt idx="177" formatCode="0">
                  <c:v>807.76527170720658</c:v>
                </c:pt>
                <c:pt idx="178" formatCode="0">
                  <c:v>823.50270816753027</c:v>
                </c:pt>
                <c:pt idx="179" formatCode="0">
                  <c:v>839.35239453127997</c:v>
                </c:pt>
                <c:pt idx="180" formatCode="0">
                  <c:v>854.65579803168964</c:v>
                </c:pt>
                <c:pt idx="181" formatCode="0">
                  <c:v>869.5700685335562</c:v>
                </c:pt>
                <c:pt idx="182" formatCode="0">
                  <c:v>884.97075528360187</c:v>
                </c:pt>
                <c:pt idx="183" formatCode="0">
                  <c:v>901.12725805004925</c:v>
                </c:pt>
                <c:pt idx="184" formatCode="0">
                  <c:v>917.89739362189198</c:v>
                </c:pt>
                <c:pt idx="185" formatCode="0">
                  <c:v>934.88454567369149</c:v>
                </c:pt>
                <c:pt idx="186" formatCode="0">
                  <c:v>951.78938112964534</c:v>
                </c:pt>
                <c:pt idx="187" formatCode="0">
                  <c:v>968.7840165083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28.59912610049571</c:v>
                </c:pt>
                <c:pt idx="165" formatCode="0">
                  <c:v>654.40911973257084</c:v>
                </c:pt>
                <c:pt idx="166" formatCode="0">
                  <c:v>679.69230838894703</c:v>
                </c:pt>
                <c:pt idx="167" formatCode="0">
                  <c:v>705.30901122679165</c:v>
                </c:pt>
                <c:pt idx="168" formatCode="0">
                  <c:v>729.91110521782127</c:v>
                </c:pt>
                <c:pt idx="169" formatCode="0">
                  <c:v>752.6287546914815</c:v>
                </c:pt>
                <c:pt idx="170" formatCode="0">
                  <c:v>772.89124186516892</c:v>
                </c:pt>
                <c:pt idx="171" formatCode="0">
                  <c:v>796.70491455629906</c:v>
                </c:pt>
                <c:pt idx="172" formatCode="0">
                  <c:v>825.65042298641424</c:v>
                </c:pt>
                <c:pt idx="173" formatCode="0">
                  <c:v>855.61366387425824</c:v>
                </c:pt>
                <c:pt idx="174" formatCode="0">
                  <c:v>885.27757168629967</c:v>
                </c:pt>
                <c:pt idx="175" formatCode="0">
                  <c:v>915.14352932450765</c:v>
                </c:pt>
                <c:pt idx="176" formatCode="0">
                  <c:v>945.90748619012379</c:v>
                </c:pt>
                <c:pt idx="177" formatCode="0">
                  <c:v>978.23545837680865</c:v>
                </c:pt>
                <c:pt idx="178" formatCode="0">
                  <c:v>1012.6437954403217</c:v>
                </c:pt>
                <c:pt idx="179" formatCode="0">
                  <c:v>1048.0773482884588</c:v>
                </c:pt>
                <c:pt idx="180" formatCode="0">
                  <c:v>1084.1095672882013</c:v>
                </c:pt>
                <c:pt idx="181" formatCode="0">
                  <c:v>1120.8751523236604</c:v>
                </c:pt>
                <c:pt idx="182" formatCode="0">
                  <c:v>1159.0625694691817</c:v>
                </c:pt>
                <c:pt idx="183" formatCode="0">
                  <c:v>1198.9262518391981</c:v>
                </c:pt>
                <c:pt idx="184" formatCode="0">
                  <c:v>1240.3838828378632</c:v>
                </c:pt>
                <c:pt idx="185" formatCode="0">
                  <c:v>1283.1735460238501</c:v>
                </c:pt>
                <c:pt idx="186" formatCode="0">
                  <c:v>1327.0931915709921</c:v>
                </c:pt>
                <c:pt idx="187" formatCode="0">
                  <c:v>1372.3373859785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32.14044288399441</c:v>
                </c:pt>
                <c:pt idx="165" formatCode="0">
                  <c:v>663.5853816680542</c:v>
                </c:pt>
                <c:pt idx="166" formatCode="0">
                  <c:v>696.01514750921831</c:v>
                </c:pt>
                <c:pt idx="167" formatCode="0">
                  <c:v>729.87847658542557</c:v>
                </c:pt>
                <c:pt idx="168" formatCode="0">
                  <c:v>764.58306188479412</c:v>
                </c:pt>
                <c:pt idx="169" formatCode="0">
                  <c:v>799.77541729252937</c:v>
                </c:pt>
                <c:pt idx="170" formatCode="0">
                  <c:v>835.24402471699068</c:v>
                </c:pt>
                <c:pt idx="171" formatCode="0">
                  <c:v>873.76073159479301</c:v>
                </c:pt>
                <c:pt idx="172" formatCode="0">
                  <c:v>917.91236027568209</c:v>
                </c:pt>
                <c:pt idx="173" formatCode="0">
                  <c:v>964.25660373682547</c:v>
                </c:pt>
                <c:pt idx="174" formatCode="0">
                  <c:v>1012.2546624417782</c:v>
                </c:pt>
                <c:pt idx="175" formatCode="0">
                  <c:v>1062.2208361201335</c:v>
                </c:pt>
                <c:pt idx="176" formatCode="0">
                  <c:v>1114.5816744049098</c:v>
                </c:pt>
                <c:pt idx="177" formatCode="0">
                  <c:v>1169.8011435636015</c:v>
                </c:pt>
                <c:pt idx="178" formatCode="0">
                  <c:v>1228.2085099795909</c:v>
                </c:pt>
                <c:pt idx="179" formatCode="0">
                  <c:v>1289.414640654335</c:v>
                </c:pt>
                <c:pt idx="180" formatCode="0">
                  <c:v>1353.307285684408</c:v>
                </c:pt>
                <c:pt idx="181" formatCode="0">
                  <c:v>1420.0884948959765</c:v>
                </c:pt>
                <c:pt idx="182" formatCode="0">
                  <c:v>1490.2596511910099</c:v>
                </c:pt>
                <c:pt idx="183" formatCode="0">
                  <c:v>1564.0976376646249</c:v>
                </c:pt>
                <c:pt idx="184" formatCode="0">
                  <c:v>1641.6772875857737</c:v>
                </c:pt>
                <c:pt idx="185" formatCode="0">
                  <c:v>1723.02105093514</c:v>
                </c:pt>
                <c:pt idx="186" formatCode="0">
                  <c:v>1808.1962776547809</c:v>
                </c:pt>
                <c:pt idx="187" formatCode="0">
                  <c:v>1897.46488418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35.67406115274616</c:v>
                </c:pt>
                <c:pt idx="165" formatCode="0">
                  <c:v>672.7614284156856</c:v>
                </c:pt>
                <c:pt idx="166" formatCode="0">
                  <c:v>712.32280478784753</c:v>
                </c:pt>
                <c:pt idx="167" formatCode="0">
                  <c:v>754.43276010241743</c:v>
                </c:pt>
                <c:pt idx="168" formatCode="0">
                  <c:v>799.41195322871181</c:v>
                </c:pt>
                <c:pt idx="169" formatCode="0">
                  <c:v>847.52053085733075</c:v>
                </c:pt>
                <c:pt idx="170" formatCode="0">
                  <c:v>899.00345783723321</c:v>
                </c:pt>
                <c:pt idx="171" formatCode="0">
                  <c:v>953.45067970035029</c:v>
                </c:pt>
                <c:pt idx="172" formatCode="0">
                  <c:v>1014.4248272413473</c:v>
                </c:pt>
                <c:pt idx="173" formatCode="0">
                  <c:v>1079.2753381139887</c:v>
                </c:pt>
                <c:pt idx="174" formatCode="0">
                  <c:v>1148.3913453168177</c:v>
                </c:pt>
                <c:pt idx="175" formatCode="0">
                  <c:v>1222.0048319835812</c:v>
                </c:pt>
                <c:pt idx="176" formatCode="0">
                  <c:v>1300.295397959761</c:v>
                </c:pt>
                <c:pt idx="177" formatCode="0">
                  <c:v>1383.4950263791038</c:v>
                </c:pt>
                <c:pt idx="178" formatCode="0">
                  <c:v>1471.8581503560426</c:v>
                </c:pt>
                <c:pt idx="179" formatCode="0">
                  <c:v>1565.8637028118608</c:v>
                </c:pt>
                <c:pt idx="180" formatCode="0">
                  <c:v>1665.9232667257872</c:v>
                </c:pt>
                <c:pt idx="181" formatCode="0">
                  <c:v>1772.4110084425752</c:v>
                </c:pt>
                <c:pt idx="182" formatCode="0">
                  <c:v>1885.6187777111329</c:v>
                </c:pt>
                <c:pt idx="183" formatCode="0">
                  <c:v>2005.9806074913733</c:v>
                </c:pt>
                <c:pt idx="184" formatCode="0">
                  <c:v>2133.952980723896</c:v>
                </c:pt>
                <c:pt idx="185" formatCode="0">
                  <c:v>2270.0746969451452</c:v>
                </c:pt>
                <c:pt idx="186" formatCode="0">
                  <c:v>2414.8920390184608</c:v>
                </c:pt>
                <c:pt idx="187" formatCode="0">
                  <c:v>2568.928839826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1F-4F8C-8040-ED76FB7F1E1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15.491837140627629</c:v>
                </c:pt>
                <c:pt idx="1">
                  <c:v>15.874351637927079</c:v>
                </c:pt>
                <c:pt idx="2">
                  <c:v>16.639380632525974</c:v>
                </c:pt>
                <c:pt idx="3">
                  <c:v>18.169438621723764</c:v>
                </c:pt>
                <c:pt idx="4">
                  <c:v>17.213152378475144</c:v>
                </c:pt>
                <c:pt idx="5">
                  <c:v>17.213152378475144</c:v>
                </c:pt>
                <c:pt idx="6">
                  <c:v>13.770521902780114</c:v>
                </c:pt>
                <c:pt idx="7">
                  <c:v>14.726808146028734</c:v>
                </c:pt>
                <c:pt idx="8">
                  <c:v>13.770521902780114</c:v>
                </c:pt>
                <c:pt idx="9">
                  <c:v>10.901663173034258</c:v>
                </c:pt>
                <c:pt idx="10">
                  <c:v>8.2240616919381253</c:v>
                </c:pt>
                <c:pt idx="11">
                  <c:v>8.7978334378872951</c:v>
                </c:pt>
                <c:pt idx="12">
                  <c:v>8.0328044432884003</c:v>
                </c:pt>
                <c:pt idx="13">
                  <c:v>7.0765182000397813</c:v>
                </c:pt>
                <c:pt idx="14">
                  <c:v>5.1639457135425433</c:v>
                </c:pt>
                <c:pt idx="15">
                  <c:v>4.3989167189436476</c:v>
                </c:pt>
                <c:pt idx="16">
                  <c:v>4.7814312162430959</c:v>
                </c:pt>
                <c:pt idx="17">
                  <c:v>5.1639457135425433</c:v>
                </c:pt>
                <c:pt idx="18">
                  <c:v>4.5901739675933717</c:v>
                </c:pt>
                <c:pt idx="19">
                  <c:v>4.9726884648928191</c:v>
                </c:pt>
                <c:pt idx="20">
                  <c:v>4.9726884648928191</c:v>
                </c:pt>
                <c:pt idx="21">
                  <c:v>4.0164022216442001</c:v>
                </c:pt>
                <c:pt idx="22">
                  <c:v>5.5464602108419907</c:v>
                </c:pt>
                <c:pt idx="23">
                  <c:v>5.9289747081414381</c:v>
                </c:pt>
                <c:pt idx="24">
                  <c:v>5.9289747081414381</c:v>
                </c:pt>
                <c:pt idx="25">
                  <c:v>6.1202319567911614</c:v>
                </c:pt>
                <c:pt idx="26">
                  <c:v>6.1202319567911614</c:v>
                </c:pt>
                <c:pt idx="27">
                  <c:v>5.7377174594917149</c:v>
                </c:pt>
                <c:pt idx="28">
                  <c:v>6.1202319567911614</c:v>
                </c:pt>
                <c:pt idx="29">
                  <c:v>4.7814312162430959</c:v>
                </c:pt>
                <c:pt idx="30">
                  <c:v>4.9726884648928191</c:v>
                </c:pt>
                <c:pt idx="31">
                  <c:v>4.3989167189436476</c:v>
                </c:pt>
                <c:pt idx="32">
                  <c:v>4.3989167189436476</c:v>
                </c:pt>
                <c:pt idx="33">
                  <c:v>4.7814312162430959</c:v>
                </c:pt>
                <c:pt idx="34">
                  <c:v>4.5901739675933717</c:v>
                </c:pt>
                <c:pt idx="35">
                  <c:v>4.3989167189436476</c:v>
                </c:pt>
                <c:pt idx="36">
                  <c:v>4.2076594702939243</c:v>
                </c:pt>
                <c:pt idx="37">
                  <c:v>4.5901739675933717</c:v>
                </c:pt>
                <c:pt idx="38">
                  <c:v>6.8852609513900571</c:v>
                </c:pt>
                <c:pt idx="39">
                  <c:v>8.6065761892375718</c:v>
                </c:pt>
                <c:pt idx="40">
                  <c:v>9.9453769297856383</c:v>
                </c:pt>
                <c:pt idx="41">
                  <c:v>12.049206664932601</c:v>
                </c:pt>
                <c:pt idx="42">
                  <c:v>15.300579891977906</c:v>
                </c:pt>
                <c:pt idx="43">
                  <c:v>16.448123383876251</c:v>
                </c:pt>
                <c:pt idx="44">
                  <c:v>17.213152378475144</c:v>
                </c:pt>
                <c:pt idx="45">
                  <c:v>16.065608886576801</c:v>
                </c:pt>
                <c:pt idx="46">
                  <c:v>14.535550897379009</c:v>
                </c:pt>
                <c:pt idx="47">
                  <c:v>12.622978410881773</c:v>
                </c:pt>
                <c:pt idx="48">
                  <c:v>11.666692167633155</c:v>
                </c:pt>
                <c:pt idx="49">
                  <c:v>9.5628624324861917</c:v>
                </c:pt>
                <c:pt idx="50">
                  <c:v>8.4153189405878486</c:v>
                </c:pt>
                <c:pt idx="51">
                  <c:v>7.4590326973392296</c:v>
                </c:pt>
                <c:pt idx="52">
                  <c:v>6.6940037027403338</c:v>
                </c:pt>
                <c:pt idx="53">
                  <c:v>6.3114892054408864</c:v>
                </c:pt>
                <c:pt idx="54">
                  <c:v>7.6502899459889528</c:v>
                </c:pt>
                <c:pt idx="55">
                  <c:v>7.0765182000397813</c:v>
                </c:pt>
                <c:pt idx="56">
                  <c:v>8.2240616919381253</c:v>
                </c:pt>
                <c:pt idx="57">
                  <c:v>9.754119681135915</c:v>
                </c:pt>
                <c:pt idx="58">
                  <c:v>11.47543491898343</c:v>
                </c:pt>
                <c:pt idx="59">
                  <c:v>11.666692167633155</c:v>
                </c:pt>
                <c:pt idx="60">
                  <c:v>12.814235659531496</c:v>
                </c:pt>
                <c:pt idx="61">
                  <c:v>13.388007405480668</c:v>
                </c:pt>
                <c:pt idx="62">
                  <c:v>13.196750156830943</c:v>
                </c:pt>
                <c:pt idx="63">
                  <c:v>13.005492908181219</c:v>
                </c:pt>
                <c:pt idx="64">
                  <c:v>12.622978410881773</c:v>
                </c:pt>
                <c:pt idx="65">
                  <c:v>10.710405924384535</c:v>
                </c:pt>
                <c:pt idx="66">
                  <c:v>10.901663173034258</c:v>
                </c:pt>
                <c:pt idx="67">
                  <c:v>10.136634178435363</c:v>
                </c:pt>
                <c:pt idx="68">
                  <c:v>8.7978334378872951</c:v>
                </c:pt>
                <c:pt idx="69">
                  <c:v>9.754119681135915</c:v>
                </c:pt>
                <c:pt idx="70">
                  <c:v>8.4153189405878486</c:v>
                </c:pt>
                <c:pt idx="71">
                  <c:v>7.6502899459889528</c:v>
                </c:pt>
                <c:pt idx="72">
                  <c:v>7.6502899459889528</c:v>
                </c:pt>
                <c:pt idx="73">
                  <c:v>7.0765182000397813</c:v>
                </c:pt>
                <c:pt idx="74">
                  <c:v>6.6940037027403338</c:v>
                </c:pt>
                <c:pt idx="75">
                  <c:v>6.1202319567911614</c:v>
                </c:pt>
                <c:pt idx="76">
                  <c:v>5.3552029621922674</c:v>
                </c:pt>
                <c:pt idx="77">
                  <c:v>5.1639457135425433</c:v>
                </c:pt>
                <c:pt idx="78">
                  <c:v>5.9289747081414381</c:v>
                </c:pt>
                <c:pt idx="79">
                  <c:v>5.5464602108419907</c:v>
                </c:pt>
                <c:pt idx="80">
                  <c:v>5.1639457135425433</c:v>
                </c:pt>
                <c:pt idx="81">
                  <c:v>5.9289747081414381</c:v>
                </c:pt>
                <c:pt idx="82">
                  <c:v>6.1202319567911614</c:v>
                </c:pt>
                <c:pt idx="83">
                  <c:v>5.3552029621922674</c:v>
                </c:pt>
                <c:pt idx="84">
                  <c:v>5.9289747081414381</c:v>
                </c:pt>
                <c:pt idx="85">
                  <c:v>5.9289747081414381</c:v>
                </c:pt>
                <c:pt idx="86">
                  <c:v>6.1202319567911614</c:v>
                </c:pt>
                <c:pt idx="87">
                  <c:v>6.3114892054408864</c:v>
                </c:pt>
                <c:pt idx="88">
                  <c:v>5.7377174594917149</c:v>
                </c:pt>
                <c:pt idx="89">
                  <c:v>6.1202319567911614</c:v>
                </c:pt>
                <c:pt idx="90">
                  <c:v>6.5027464540906097</c:v>
                </c:pt>
                <c:pt idx="91">
                  <c:v>6.6940037027403338</c:v>
                </c:pt>
                <c:pt idx="92">
                  <c:v>6.3114892054408864</c:v>
                </c:pt>
                <c:pt idx="93">
                  <c:v>8.9890906865370201</c:v>
                </c:pt>
                <c:pt idx="94">
                  <c:v>10.136634178435363</c:v>
                </c:pt>
                <c:pt idx="95">
                  <c:v>12.049206664932601</c:v>
                </c:pt>
                <c:pt idx="96">
                  <c:v>12.240463913582323</c:v>
                </c:pt>
                <c:pt idx="97">
                  <c:v>13.961779151429839</c:v>
                </c:pt>
                <c:pt idx="98">
                  <c:v>17.97818137307404</c:v>
                </c:pt>
                <c:pt idx="99">
                  <c:v>19.125724864972383</c:v>
                </c:pt>
                <c:pt idx="100">
                  <c:v>20.082011108221003</c:v>
                </c:pt>
                <c:pt idx="101">
                  <c:v>23.142127086616583</c:v>
                </c:pt>
                <c:pt idx="102">
                  <c:v>23.907156081215479</c:v>
                </c:pt>
                <c:pt idx="103">
                  <c:v>24.289670578514926</c:v>
                </c:pt>
                <c:pt idx="104">
                  <c:v>24.863442324464096</c:v>
                </c:pt>
                <c:pt idx="105">
                  <c:v>23.715898832565752</c:v>
                </c:pt>
                <c:pt idx="106">
                  <c:v>25.245956821763546</c:v>
                </c:pt>
                <c:pt idx="107">
                  <c:v>24.672185075814372</c:v>
                </c:pt>
                <c:pt idx="108">
                  <c:v>22.568355340667413</c:v>
                </c:pt>
                <c:pt idx="109">
                  <c:v>22.568355340667413</c:v>
                </c:pt>
                <c:pt idx="110">
                  <c:v>22.37709809201769</c:v>
                </c:pt>
                <c:pt idx="111">
                  <c:v>23.33338433526631</c:v>
                </c:pt>
                <c:pt idx="112">
                  <c:v>24.289670578514926</c:v>
                </c:pt>
                <c:pt idx="113">
                  <c:v>24.480927827164646</c:v>
                </c:pt>
                <c:pt idx="114">
                  <c:v>22.759612589317133</c:v>
                </c:pt>
                <c:pt idx="115">
                  <c:v>22.950869837966859</c:v>
                </c:pt>
                <c:pt idx="116">
                  <c:v>21.612069097418793</c:v>
                </c:pt>
                <c:pt idx="117">
                  <c:v>21.42081184876907</c:v>
                </c:pt>
                <c:pt idx="118">
                  <c:v>19.890753859571277</c:v>
                </c:pt>
                <c:pt idx="119">
                  <c:v>19.50823936227183</c:v>
                </c:pt>
                <c:pt idx="120">
                  <c:v>20.273268356870727</c:v>
                </c:pt>
                <c:pt idx="121">
                  <c:v>21.612069097418793</c:v>
                </c:pt>
                <c:pt idx="122">
                  <c:v>22.37709809201769</c:v>
                </c:pt>
                <c:pt idx="123">
                  <c:v>22.759612589317133</c:v>
                </c:pt>
                <c:pt idx="124">
                  <c:v>25.819728567712719</c:v>
                </c:pt>
                <c:pt idx="125">
                  <c:v>27.732301054209952</c:v>
                </c:pt>
                <c:pt idx="126">
                  <c:v>29.836130789356918</c:v>
                </c:pt>
                <c:pt idx="127">
                  <c:v>29.836130789356918</c:v>
                </c:pt>
                <c:pt idx="128">
                  <c:v>32.322475021803328</c:v>
                </c:pt>
                <c:pt idx="129">
                  <c:v>33.470018513701667</c:v>
                </c:pt>
                <c:pt idx="130">
                  <c:v>37.868935232645313</c:v>
                </c:pt>
                <c:pt idx="131">
                  <c:v>38.442706978594487</c:v>
                </c:pt>
                <c:pt idx="132">
                  <c:v>40.546536713741453</c:v>
                </c:pt>
                <c:pt idx="133">
                  <c:v>41.88533745428952</c:v>
                </c:pt>
                <c:pt idx="134">
                  <c:v>47.431797665131505</c:v>
                </c:pt>
                <c:pt idx="135">
                  <c:v>52.978257875973505</c:v>
                </c:pt>
                <c:pt idx="136">
                  <c:v>59.289747081414383</c:v>
                </c:pt>
                <c:pt idx="137">
                  <c:v>61.011062319261903</c:v>
                </c:pt>
                <c:pt idx="138">
                  <c:v>62.15860581116025</c:v>
                </c:pt>
                <c:pt idx="139">
                  <c:v>74.39906972474256</c:v>
                </c:pt>
                <c:pt idx="140">
                  <c:v>93.524794589714944</c:v>
                </c:pt>
                <c:pt idx="141">
                  <c:v>104.23520051409949</c:v>
                </c:pt>
                <c:pt idx="142">
                  <c:v>114.37183469253485</c:v>
                </c:pt>
                <c:pt idx="143">
                  <c:v>129.09864283856359</c:v>
                </c:pt>
                <c:pt idx="144">
                  <c:v>133.68881680615695</c:v>
                </c:pt>
                <c:pt idx="145">
                  <c:v>146.12053796838899</c:v>
                </c:pt>
                <c:pt idx="146">
                  <c:v>163.14243309821444</c:v>
                </c:pt>
                <c:pt idx="147">
                  <c:v>173.85283902259897</c:v>
                </c:pt>
                <c:pt idx="148">
                  <c:v>191.06599140107411</c:v>
                </c:pt>
                <c:pt idx="149">
                  <c:v>194.12610737946969</c:v>
                </c:pt>
                <c:pt idx="150">
                  <c:v>216.50320547148735</c:v>
                </c:pt>
                <c:pt idx="151">
                  <c:v>240.41036155270285</c:v>
                </c:pt>
                <c:pt idx="152">
                  <c:v>241.74916229325092</c:v>
                </c:pt>
                <c:pt idx="153">
                  <c:v>271.39403583395807</c:v>
                </c:pt>
                <c:pt idx="154">
                  <c:v>306.39411233685757</c:v>
                </c:pt>
                <c:pt idx="155">
                  <c:v>345.21933381275153</c:v>
                </c:pt>
                <c:pt idx="156">
                  <c:v>379.64563856970176</c:v>
                </c:pt>
                <c:pt idx="157">
                  <c:v>412.35062808880451</c:v>
                </c:pt>
                <c:pt idx="158">
                  <c:v>431.28509570512722</c:v>
                </c:pt>
                <c:pt idx="159">
                  <c:v>448.30699083495267</c:v>
                </c:pt>
                <c:pt idx="160">
                  <c:v>481.7770093486543</c:v>
                </c:pt>
                <c:pt idx="161">
                  <c:v>494.59124500818581</c:v>
                </c:pt>
                <c:pt idx="162">
                  <c:v>526.72246278133946</c:v>
                </c:pt>
                <c:pt idx="163">
                  <c:v>586.7772388573527</c:v>
                </c:pt>
                <c:pt idx="164">
                  <c:v>618.71719938185652</c:v>
                </c:pt>
                <c:pt idx="165">
                  <c:v>648.36207292256381</c:v>
                </c:pt>
                <c:pt idx="166">
                  <c:v>666.53151154428758</c:v>
                </c:pt>
                <c:pt idx="167">
                  <c:v>717.97971143106315</c:v>
                </c:pt>
                <c:pt idx="168">
                  <c:v>841.14937956148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61F-4F8C-8040-ED76FB7F1E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597.48764478173723</c:v>
                </c:pt>
                <c:pt idx="165" formatCode="0">
                  <c:v>616.80462689535932</c:v>
                </c:pt>
                <c:pt idx="166" formatCode="0">
                  <c:v>634.20903652248421</c:v>
                </c:pt>
                <c:pt idx="167" formatCode="0">
                  <c:v>650.84841715501011</c:v>
                </c:pt>
                <c:pt idx="168" formatCode="0">
                  <c:v>665.00145355508971</c:v>
                </c:pt>
                <c:pt idx="169" formatCode="0">
                  <c:v>675.3293449821748</c:v>
                </c:pt>
                <c:pt idx="170" formatCode="0">
                  <c:v>680.87580519301684</c:v>
                </c:pt>
                <c:pt idx="171" formatCode="0">
                  <c:v>690.8211821228025</c:v>
                </c:pt>
                <c:pt idx="172" formatCode="0">
                  <c:v>705.5479902688312</c:v>
                </c:pt>
                <c:pt idx="173" formatCode="0">
                  <c:v>720.46605566350968</c:v>
                </c:pt>
                <c:pt idx="174" formatCode="0">
                  <c:v>733.85406306899029</c:v>
                </c:pt>
                <c:pt idx="175" formatCode="0">
                  <c:v>746.28578423122235</c:v>
                </c:pt>
                <c:pt idx="176" formatCode="0">
                  <c:v>758.71750539345442</c:v>
                </c:pt>
                <c:pt idx="177" formatCode="0">
                  <c:v>772.10551279893514</c:v>
                </c:pt>
                <c:pt idx="178" formatCode="0">
                  <c:v>787.21483544226328</c:v>
                </c:pt>
                <c:pt idx="179" formatCode="0">
                  <c:v>802.32415808559142</c:v>
                </c:pt>
                <c:pt idx="180" formatCode="0">
                  <c:v>817.05096623162012</c:v>
                </c:pt>
                <c:pt idx="181" formatCode="0">
                  <c:v>831.39525988034939</c:v>
                </c:pt>
                <c:pt idx="182" formatCode="0">
                  <c:v>846.12206802637809</c:v>
                </c:pt>
                <c:pt idx="183" formatCode="0">
                  <c:v>861.6139051670059</c:v>
                </c:pt>
                <c:pt idx="184" formatCode="0">
                  <c:v>877.67951405358269</c:v>
                </c:pt>
                <c:pt idx="185" formatCode="0">
                  <c:v>893.74512294015938</c:v>
                </c:pt>
                <c:pt idx="186" formatCode="0">
                  <c:v>909.81073182673617</c:v>
                </c:pt>
                <c:pt idx="187" formatCode="0">
                  <c:v>926.06759796196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61F-4F8C-8040-ED76FB7F1E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00.9302752574323</c:v>
                </c:pt>
                <c:pt idx="165" formatCode="0">
                  <c:v>625.60246033324665</c:v>
                </c:pt>
                <c:pt idx="166" formatCode="0">
                  <c:v>649.89213091176157</c:v>
                </c:pt>
                <c:pt idx="167" formatCode="0">
                  <c:v>674.37305873892626</c:v>
                </c:pt>
                <c:pt idx="168" formatCode="0">
                  <c:v>697.8977003228423</c:v>
                </c:pt>
                <c:pt idx="169" formatCode="0">
                  <c:v>719.7010266689108</c:v>
                </c:pt>
                <c:pt idx="170" formatCode="0">
                  <c:v>739.01800878253277</c:v>
                </c:pt>
                <c:pt idx="171" formatCode="0">
                  <c:v>761.77762137185005</c:v>
                </c:pt>
                <c:pt idx="172" formatCode="0">
                  <c:v>789.50992242605992</c:v>
                </c:pt>
                <c:pt idx="173" formatCode="0">
                  <c:v>818.00725247486878</c:v>
                </c:pt>
                <c:pt idx="174" formatCode="0">
                  <c:v>846.31332527502786</c:v>
                </c:pt>
                <c:pt idx="175" formatCode="0">
                  <c:v>874.81065532383684</c:v>
                </c:pt>
                <c:pt idx="176" formatCode="0">
                  <c:v>904.07301436724458</c:v>
                </c:pt>
                <c:pt idx="177" formatCode="0">
                  <c:v>934.86543139985008</c:v>
                </c:pt>
                <c:pt idx="178" formatCode="0">
                  <c:v>967.76167816760255</c:v>
                </c:pt>
                <c:pt idx="179" formatCode="0">
                  <c:v>1001.6142111786038</c:v>
                </c:pt>
                <c:pt idx="180" formatCode="0">
                  <c:v>1036.2317731842036</c:v>
                </c:pt>
                <c:pt idx="181" formatCode="0">
                  <c:v>1071.4231069357527</c:v>
                </c:pt>
                <c:pt idx="182" formatCode="0">
                  <c:v>1107.9532414278501</c:v>
                </c:pt>
                <c:pt idx="183" formatCode="0">
                  <c:v>1146.204691157795</c:v>
                </c:pt>
                <c:pt idx="184" formatCode="0">
                  <c:v>1185.9861988769376</c:v>
                </c:pt>
                <c:pt idx="185" formatCode="0">
                  <c:v>1226.9152500879784</c:v>
                </c:pt>
                <c:pt idx="186" formatCode="0">
                  <c:v>1268.800587542268</c:v>
                </c:pt>
                <c:pt idx="187" formatCode="0">
                  <c:v>1312.0247257371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61F-4F8C-8040-ED76FB7F1E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04.37290573312725</c:v>
                </c:pt>
                <c:pt idx="165" formatCode="0">
                  <c:v>634.40029377113399</c:v>
                </c:pt>
                <c:pt idx="166" formatCode="0">
                  <c:v>665.38396805238915</c:v>
                </c:pt>
                <c:pt idx="167" formatCode="0">
                  <c:v>697.70644307419252</c:v>
                </c:pt>
                <c:pt idx="168" formatCode="0">
                  <c:v>730.98520433924443</c:v>
                </c:pt>
                <c:pt idx="169" formatCode="0">
                  <c:v>764.6464801015959</c:v>
                </c:pt>
                <c:pt idx="170" formatCode="0">
                  <c:v>798.49901311259703</c:v>
                </c:pt>
                <c:pt idx="171" formatCode="0">
                  <c:v>835.22040485334401</c:v>
                </c:pt>
                <c:pt idx="172" formatCode="0">
                  <c:v>877.48825680493292</c:v>
                </c:pt>
                <c:pt idx="173" formatCode="0">
                  <c:v>921.8599384916688</c:v>
                </c:pt>
                <c:pt idx="174" formatCode="0">
                  <c:v>967.76167816760255</c:v>
                </c:pt>
                <c:pt idx="175" formatCode="0">
                  <c:v>1015.3847330813838</c:v>
                </c:pt>
                <c:pt idx="176" formatCode="0">
                  <c:v>1065.4941322276115</c:v>
                </c:pt>
                <c:pt idx="177" formatCode="0">
                  <c:v>1118.2811328549351</c:v>
                </c:pt>
                <c:pt idx="178" formatCode="0">
                  <c:v>1174.1282494606546</c:v>
                </c:pt>
                <c:pt idx="179" formatCode="0">
                  <c:v>1232.6529675474699</c:v>
                </c:pt>
                <c:pt idx="180" formatCode="0">
                  <c:v>1293.6640298667319</c:v>
                </c:pt>
                <c:pt idx="181" formatCode="0">
                  <c:v>1357.5439509157397</c:v>
                </c:pt>
                <c:pt idx="182" formatCode="0">
                  <c:v>1424.6752451917928</c:v>
                </c:pt>
                <c:pt idx="183" formatCode="0">
                  <c:v>1495.2491699435409</c:v>
                </c:pt>
                <c:pt idx="184" formatCode="0">
                  <c:v>1569.4569824196337</c:v>
                </c:pt>
                <c:pt idx="185" formatCode="0">
                  <c:v>1647.2986826200713</c:v>
                </c:pt>
                <c:pt idx="186" formatCode="0">
                  <c:v>1728.7742705448538</c:v>
                </c:pt>
                <c:pt idx="187" formatCode="0">
                  <c:v>1814.2662606912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61F-4F8C-8040-ED76FB7F1E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07.62427896017255</c:v>
                </c:pt>
                <c:pt idx="165" formatCode="0">
                  <c:v>643.00686996037155</c:v>
                </c:pt>
                <c:pt idx="166" formatCode="0">
                  <c:v>680.87580519301684</c:v>
                </c:pt>
                <c:pt idx="167" formatCode="0">
                  <c:v>721.03982740945878</c:v>
                </c:pt>
                <c:pt idx="168" formatCode="0">
                  <c:v>764.07270835564668</c:v>
                </c:pt>
                <c:pt idx="169" formatCode="0">
                  <c:v>810.1657052802301</c:v>
                </c:pt>
                <c:pt idx="170" formatCode="0">
                  <c:v>859.31881818320915</c:v>
                </c:pt>
                <c:pt idx="171" formatCode="0">
                  <c:v>911.34078981593404</c:v>
                </c:pt>
                <c:pt idx="172" formatCode="0">
                  <c:v>969.67425065409975</c:v>
                </c:pt>
                <c:pt idx="173" formatCode="0">
                  <c:v>1031.6415992166103</c:v>
                </c:pt>
                <c:pt idx="174" formatCode="0">
                  <c:v>1097.8166072494148</c:v>
                </c:pt>
                <c:pt idx="175" formatCode="0">
                  <c:v>1168.199274752513</c:v>
                </c:pt>
                <c:pt idx="176" formatCode="0">
                  <c:v>1242.9808589745551</c:v>
                </c:pt>
                <c:pt idx="177" formatCode="0">
                  <c:v>1322.5438744128403</c:v>
                </c:pt>
                <c:pt idx="178" formatCode="0">
                  <c:v>1407.0795783160181</c:v>
                </c:pt>
                <c:pt idx="179" formatCode="0">
                  <c:v>1496.9704851813883</c:v>
                </c:pt>
                <c:pt idx="180" formatCode="0">
                  <c:v>1592.5991095062504</c:v>
                </c:pt>
                <c:pt idx="181" formatCode="0">
                  <c:v>1694.3479657879034</c:v>
                </c:pt>
                <c:pt idx="182" formatCode="0">
                  <c:v>1802.5995685236471</c:v>
                </c:pt>
                <c:pt idx="183" formatCode="0">
                  <c:v>1917.7364322107808</c:v>
                </c:pt>
                <c:pt idx="184" formatCode="0">
                  <c:v>2040.1410713466041</c:v>
                </c:pt>
                <c:pt idx="185" formatCode="0">
                  <c:v>2170.3872576770659</c:v>
                </c:pt>
                <c:pt idx="186" formatCode="0">
                  <c:v>2308.8575056994659</c:v>
                </c:pt>
                <c:pt idx="187" formatCode="0">
                  <c:v>2456.1255871597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02</c:v>
                </c:pt>
                <c:pt idx="1">
                  <c:v>16</c:v>
                </c:pt>
                <c:pt idx="2">
                  <c:v>79</c:v>
                </c:pt>
                <c:pt idx="3">
                  <c:v>174</c:v>
                </c:pt>
                <c:pt idx="4">
                  <c:v>154</c:v>
                </c:pt>
                <c:pt idx="5">
                  <c:v>108</c:v>
                </c:pt>
                <c:pt idx="6">
                  <c:v>181</c:v>
                </c:pt>
                <c:pt idx="7">
                  <c:v>42</c:v>
                </c:pt>
                <c:pt idx="8">
                  <c:v>23</c:v>
                </c:pt>
                <c:pt idx="9">
                  <c:v>62</c:v>
                </c:pt>
                <c:pt idx="10">
                  <c:v>118</c:v>
                </c:pt>
                <c:pt idx="11">
                  <c:v>73</c:v>
                </c:pt>
                <c:pt idx="12">
                  <c:v>79</c:v>
                </c:pt>
                <c:pt idx="13">
                  <c:v>75</c:v>
                </c:pt>
                <c:pt idx="14">
                  <c:v>42</c:v>
                </c:pt>
                <c:pt idx="15">
                  <c:v>4</c:v>
                </c:pt>
                <c:pt idx="16">
                  <c:v>47</c:v>
                </c:pt>
                <c:pt idx="17">
                  <c:v>58</c:v>
                </c:pt>
                <c:pt idx="18">
                  <c:v>46</c:v>
                </c:pt>
                <c:pt idx="19">
                  <c:v>45</c:v>
                </c:pt>
                <c:pt idx="20">
                  <c:v>44</c:v>
                </c:pt>
                <c:pt idx="21">
                  <c:v>11</c:v>
                </c:pt>
                <c:pt idx="22">
                  <c:v>5</c:v>
                </c:pt>
                <c:pt idx="23">
                  <c:v>28</c:v>
                </c:pt>
                <c:pt idx="24">
                  <c:v>14</c:v>
                </c:pt>
                <c:pt idx="25">
                  <c:v>48</c:v>
                </c:pt>
                <c:pt idx="26">
                  <c:v>33</c:v>
                </c:pt>
                <c:pt idx="27">
                  <c:v>27</c:v>
                </c:pt>
                <c:pt idx="28">
                  <c:v>5</c:v>
                </c:pt>
                <c:pt idx="29">
                  <c:v>3</c:v>
                </c:pt>
                <c:pt idx="30">
                  <c:v>21</c:v>
                </c:pt>
                <c:pt idx="31">
                  <c:v>14</c:v>
                </c:pt>
                <c:pt idx="32">
                  <c:v>11</c:v>
                </c:pt>
                <c:pt idx="33">
                  <c:v>14</c:v>
                </c:pt>
                <c:pt idx="34">
                  <c:v>14</c:v>
                </c:pt>
                <c:pt idx="35">
                  <c:v>1</c:v>
                </c:pt>
                <c:pt idx="36">
                  <c:v>1</c:v>
                </c:pt>
                <c:pt idx="37">
                  <c:v>17</c:v>
                </c:pt>
                <c:pt idx="38">
                  <c:v>22</c:v>
                </c:pt>
                <c:pt idx="39">
                  <c:v>8</c:v>
                </c:pt>
                <c:pt idx="40">
                  <c:v>14</c:v>
                </c:pt>
                <c:pt idx="41">
                  <c:v>10</c:v>
                </c:pt>
                <c:pt idx="42">
                  <c:v>0</c:v>
                </c:pt>
                <c:pt idx="43">
                  <c:v>0</c:v>
                </c:pt>
                <c:pt idx="44">
                  <c:v>8</c:v>
                </c:pt>
                <c:pt idx="45">
                  <c:v>11</c:v>
                </c:pt>
                <c:pt idx="46">
                  <c:v>6</c:v>
                </c:pt>
                <c:pt idx="47">
                  <c:v>3</c:v>
                </c:pt>
                <c:pt idx="48">
                  <c:v>3</c:v>
                </c:pt>
                <c:pt idx="49">
                  <c:v>7</c:v>
                </c:pt>
                <c:pt idx="50">
                  <c:v>1</c:v>
                </c:pt>
                <c:pt idx="51">
                  <c:v>2</c:v>
                </c:pt>
                <c:pt idx="52">
                  <c:v>5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5</c:v>
                </c:pt>
                <c:pt idx="60">
                  <c:v>0</c:v>
                </c:pt>
                <c:pt idx="61">
                  <c:v>3</c:v>
                </c:pt>
                <c:pt idx="62">
                  <c:v>4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19</c:v>
                </c:pt>
                <c:pt idx="68">
                  <c:v>15</c:v>
                </c:pt>
                <c:pt idx="69">
                  <c:v>9</c:v>
                </c:pt>
                <c:pt idx="70">
                  <c:v>8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13</c:v>
                </c:pt>
                <c:pt idx="75">
                  <c:v>3</c:v>
                </c:pt>
                <c:pt idx="76">
                  <c:v>5</c:v>
                </c:pt>
                <c:pt idx="77">
                  <c:v>5</c:v>
                </c:pt>
                <c:pt idx="78">
                  <c:v>0</c:v>
                </c:pt>
                <c:pt idx="79">
                  <c:v>1</c:v>
                </c:pt>
                <c:pt idx="80">
                  <c:v>12</c:v>
                </c:pt>
                <c:pt idx="81">
                  <c:v>8</c:v>
                </c:pt>
                <c:pt idx="82">
                  <c:v>3</c:v>
                </c:pt>
                <c:pt idx="83">
                  <c:v>6</c:v>
                </c:pt>
                <c:pt idx="84">
                  <c:v>1</c:v>
                </c:pt>
                <c:pt idx="85">
                  <c:v>1</c:v>
                </c:pt>
                <c:pt idx="86">
                  <c:v>4</c:v>
                </c:pt>
                <c:pt idx="87">
                  <c:v>15</c:v>
                </c:pt>
                <c:pt idx="88">
                  <c:v>4</c:v>
                </c:pt>
                <c:pt idx="89">
                  <c:v>5</c:v>
                </c:pt>
                <c:pt idx="90">
                  <c:v>6</c:v>
                </c:pt>
                <c:pt idx="91">
                  <c:v>6</c:v>
                </c:pt>
                <c:pt idx="92">
                  <c:v>5</c:v>
                </c:pt>
                <c:pt idx="93">
                  <c:v>5</c:v>
                </c:pt>
                <c:pt idx="94">
                  <c:v>13</c:v>
                </c:pt>
                <c:pt idx="95">
                  <c:v>13</c:v>
                </c:pt>
                <c:pt idx="96">
                  <c:v>9</c:v>
                </c:pt>
                <c:pt idx="97">
                  <c:v>9</c:v>
                </c:pt>
                <c:pt idx="98">
                  <c:v>8</c:v>
                </c:pt>
                <c:pt idx="99">
                  <c:v>1</c:v>
                </c:pt>
                <c:pt idx="100">
                  <c:v>11</c:v>
                </c:pt>
                <c:pt idx="101">
                  <c:v>20</c:v>
                </c:pt>
                <c:pt idx="102">
                  <c:v>10</c:v>
                </c:pt>
                <c:pt idx="103">
                  <c:v>7</c:v>
                </c:pt>
                <c:pt idx="104">
                  <c:v>6</c:v>
                </c:pt>
                <c:pt idx="105">
                  <c:v>2</c:v>
                </c:pt>
                <c:pt idx="106">
                  <c:v>2</c:v>
                </c:pt>
                <c:pt idx="107">
                  <c:v>14</c:v>
                </c:pt>
                <c:pt idx="108">
                  <c:v>16</c:v>
                </c:pt>
                <c:pt idx="109">
                  <c:v>9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0</c:v>
                </c:pt>
                <c:pt idx="114">
                  <c:v>4</c:v>
                </c:pt>
                <c:pt idx="115">
                  <c:v>10</c:v>
                </c:pt>
                <c:pt idx="116">
                  <c:v>19</c:v>
                </c:pt>
                <c:pt idx="117">
                  <c:v>8</c:v>
                </c:pt>
                <c:pt idx="118">
                  <c:v>7</c:v>
                </c:pt>
                <c:pt idx="119">
                  <c:v>1</c:v>
                </c:pt>
                <c:pt idx="120">
                  <c:v>2</c:v>
                </c:pt>
                <c:pt idx="121">
                  <c:v>3</c:v>
                </c:pt>
                <c:pt idx="122">
                  <c:v>16</c:v>
                </c:pt>
                <c:pt idx="123">
                  <c:v>13</c:v>
                </c:pt>
                <c:pt idx="124">
                  <c:v>9</c:v>
                </c:pt>
                <c:pt idx="125">
                  <c:v>16</c:v>
                </c:pt>
                <c:pt idx="126">
                  <c:v>3</c:v>
                </c:pt>
                <c:pt idx="127">
                  <c:v>4</c:v>
                </c:pt>
                <c:pt idx="128">
                  <c:v>16</c:v>
                </c:pt>
                <c:pt idx="129">
                  <c:v>13</c:v>
                </c:pt>
                <c:pt idx="130">
                  <c:v>32</c:v>
                </c:pt>
                <c:pt idx="131">
                  <c:v>11</c:v>
                </c:pt>
                <c:pt idx="132">
                  <c:v>25</c:v>
                </c:pt>
                <c:pt idx="133">
                  <c:v>8</c:v>
                </c:pt>
                <c:pt idx="134">
                  <c:v>2</c:v>
                </c:pt>
                <c:pt idx="135">
                  <c:v>19</c:v>
                </c:pt>
                <c:pt idx="136">
                  <c:v>12</c:v>
                </c:pt>
                <c:pt idx="137">
                  <c:v>11</c:v>
                </c:pt>
                <c:pt idx="138">
                  <c:v>12</c:v>
                </c:pt>
                <c:pt idx="139">
                  <c:v>18</c:v>
                </c:pt>
                <c:pt idx="140">
                  <c:v>7</c:v>
                </c:pt>
                <c:pt idx="141">
                  <c:v>3</c:v>
                </c:pt>
                <c:pt idx="142">
                  <c:v>8</c:v>
                </c:pt>
                <c:pt idx="143">
                  <c:v>23</c:v>
                </c:pt>
                <c:pt idx="144">
                  <c:v>16</c:v>
                </c:pt>
                <c:pt idx="145">
                  <c:v>8</c:v>
                </c:pt>
                <c:pt idx="146">
                  <c:v>18</c:v>
                </c:pt>
                <c:pt idx="147">
                  <c:v>17</c:v>
                </c:pt>
                <c:pt idx="148">
                  <c:v>9</c:v>
                </c:pt>
                <c:pt idx="149">
                  <c:v>20</c:v>
                </c:pt>
                <c:pt idx="150">
                  <c:v>14</c:v>
                </c:pt>
                <c:pt idx="151">
                  <c:v>13</c:v>
                </c:pt>
                <c:pt idx="152">
                  <c:v>21</c:v>
                </c:pt>
                <c:pt idx="153">
                  <c:v>28</c:v>
                </c:pt>
                <c:pt idx="154">
                  <c:v>12</c:v>
                </c:pt>
                <c:pt idx="155">
                  <c:v>7</c:v>
                </c:pt>
                <c:pt idx="156">
                  <c:v>26</c:v>
                </c:pt>
                <c:pt idx="157">
                  <c:v>32</c:v>
                </c:pt>
                <c:pt idx="158">
                  <c:v>37</c:v>
                </c:pt>
                <c:pt idx="159">
                  <c:v>32</c:v>
                </c:pt>
                <c:pt idx="160">
                  <c:v>31</c:v>
                </c:pt>
                <c:pt idx="161">
                  <c:v>10</c:v>
                </c:pt>
                <c:pt idx="162">
                  <c:v>4</c:v>
                </c:pt>
                <c:pt idx="163">
                  <c:v>32</c:v>
                </c:pt>
                <c:pt idx="164">
                  <c:v>36</c:v>
                </c:pt>
                <c:pt idx="165">
                  <c:v>52</c:v>
                </c:pt>
                <c:pt idx="166">
                  <c:v>41</c:v>
                </c:pt>
                <c:pt idx="167">
                  <c:v>112</c:v>
                </c:pt>
                <c:pt idx="168">
                  <c:v>30</c:v>
                </c:pt>
                <c:pt idx="169">
                  <c:v>12</c:v>
                </c:pt>
                <c:pt idx="170">
                  <c:v>91</c:v>
                </c:pt>
                <c:pt idx="171">
                  <c:v>113</c:v>
                </c:pt>
                <c:pt idx="172">
                  <c:v>113</c:v>
                </c:pt>
                <c:pt idx="173">
                  <c:v>105</c:v>
                </c:pt>
                <c:pt idx="174">
                  <c:v>208</c:v>
                </c:pt>
                <c:pt idx="175">
                  <c:v>102</c:v>
                </c:pt>
                <c:pt idx="176">
                  <c:v>35</c:v>
                </c:pt>
                <c:pt idx="177">
                  <c:v>135</c:v>
                </c:pt>
                <c:pt idx="178">
                  <c:v>316</c:v>
                </c:pt>
                <c:pt idx="179">
                  <c:v>180</c:v>
                </c:pt>
                <c:pt idx="180">
                  <c:v>248</c:v>
                </c:pt>
                <c:pt idx="181">
                  <c:v>197</c:v>
                </c:pt>
                <c:pt idx="182">
                  <c:v>142</c:v>
                </c:pt>
                <c:pt idx="183">
                  <c:v>47</c:v>
                </c:pt>
                <c:pt idx="184">
                  <c:v>228</c:v>
                </c:pt>
                <c:pt idx="185">
                  <c:v>363</c:v>
                </c:pt>
                <c:pt idx="186">
                  <c:v>277</c:v>
                </c:pt>
                <c:pt idx="187">
                  <c:v>287</c:v>
                </c:pt>
                <c:pt idx="188">
                  <c:v>467</c:v>
                </c:pt>
                <c:pt idx="189">
                  <c:v>160</c:v>
                </c:pt>
                <c:pt idx="190">
                  <c:v>72</c:v>
                </c:pt>
                <c:pt idx="191">
                  <c:v>297</c:v>
                </c:pt>
                <c:pt idx="192">
                  <c:v>584</c:v>
                </c:pt>
                <c:pt idx="193">
                  <c:v>413</c:v>
                </c:pt>
                <c:pt idx="194">
                  <c:v>329</c:v>
                </c:pt>
                <c:pt idx="195">
                  <c:v>901</c:v>
                </c:pt>
                <c:pt idx="196">
                  <c:v>195</c:v>
                </c:pt>
                <c:pt idx="197">
                  <c:v>157</c:v>
                </c:pt>
                <c:pt idx="198">
                  <c:v>371</c:v>
                </c:pt>
                <c:pt idx="199">
                  <c:v>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56-48BE-B88E-F8A8C486AC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449</c:v>
                </c:pt>
                <c:pt idx="196">
                  <c:v>450</c:v>
                </c:pt>
                <c:pt idx="197">
                  <c:v>463</c:v>
                </c:pt>
                <c:pt idx="198">
                  <c:v>482</c:v>
                </c:pt>
                <c:pt idx="199">
                  <c:v>494</c:v>
                </c:pt>
                <c:pt idx="200">
                  <c:v>502</c:v>
                </c:pt>
                <c:pt idx="201">
                  <c:v>507</c:v>
                </c:pt>
                <c:pt idx="202">
                  <c:v>511</c:v>
                </c:pt>
                <c:pt idx="203">
                  <c:v>523</c:v>
                </c:pt>
                <c:pt idx="204">
                  <c:v>537</c:v>
                </c:pt>
                <c:pt idx="205">
                  <c:v>549</c:v>
                </c:pt>
                <c:pt idx="206">
                  <c:v>556</c:v>
                </c:pt>
                <c:pt idx="207">
                  <c:v>564</c:v>
                </c:pt>
                <c:pt idx="208">
                  <c:v>574</c:v>
                </c:pt>
                <c:pt idx="209">
                  <c:v>585</c:v>
                </c:pt>
                <c:pt idx="210">
                  <c:v>598</c:v>
                </c:pt>
                <c:pt idx="211">
                  <c:v>609</c:v>
                </c:pt>
                <c:pt idx="212">
                  <c:v>619</c:v>
                </c:pt>
                <c:pt idx="213">
                  <c:v>629</c:v>
                </c:pt>
                <c:pt idx="214">
                  <c:v>640</c:v>
                </c:pt>
                <c:pt idx="215">
                  <c:v>653</c:v>
                </c:pt>
                <c:pt idx="216">
                  <c:v>665</c:v>
                </c:pt>
                <c:pt idx="217">
                  <c:v>677</c:v>
                </c:pt>
                <c:pt idx="218">
                  <c:v>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E56-48BE-B88E-F8A8C486AC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465</c:v>
                </c:pt>
                <c:pt idx="196">
                  <c:v>477</c:v>
                </c:pt>
                <c:pt idx="197">
                  <c:v>496</c:v>
                </c:pt>
                <c:pt idx="198">
                  <c:v>521</c:v>
                </c:pt>
                <c:pt idx="199">
                  <c:v>541</c:v>
                </c:pt>
                <c:pt idx="200">
                  <c:v>559</c:v>
                </c:pt>
                <c:pt idx="201">
                  <c:v>575</c:v>
                </c:pt>
                <c:pt idx="202">
                  <c:v>591</c:v>
                </c:pt>
                <c:pt idx="203">
                  <c:v>614</c:v>
                </c:pt>
                <c:pt idx="204">
                  <c:v>638</c:v>
                </c:pt>
                <c:pt idx="205">
                  <c:v>661</c:v>
                </c:pt>
                <c:pt idx="206">
                  <c:v>682</c:v>
                </c:pt>
                <c:pt idx="207">
                  <c:v>704</c:v>
                </c:pt>
                <c:pt idx="208">
                  <c:v>728</c:v>
                </c:pt>
                <c:pt idx="209">
                  <c:v>754</c:v>
                </c:pt>
                <c:pt idx="210">
                  <c:v>781</c:v>
                </c:pt>
                <c:pt idx="211">
                  <c:v>808</c:v>
                </c:pt>
                <c:pt idx="212">
                  <c:v>835</c:v>
                </c:pt>
                <c:pt idx="213">
                  <c:v>863</c:v>
                </c:pt>
                <c:pt idx="214">
                  <c:v>892</c:v>
                </c:pt>
                <c:pt idx="215">
                  <c:v>923</c:v>
                </c:pt>
                <c:pt idx="216">
                  <c:v>956</c:v>
                </c:pt>
                <c:pt idx="217">
                  <c:v>988</c:v>
                </c:pt>
                <c:pt idx="218">
                  <c:v>1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E56-48BE-B88E-F8A8C486AC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482</c:v>
                </c:pt>
                <c:pt idx="196">
                  <c:v>504</c:v>
                </c:pt>
                <c:pt idx="197">
                  <c:v>530</c:v>
                </c:pt>
                <c:pt idx="198">
                  <c:v>560</c:v>
                </c:pt>
                <c:pt idx="199">
                  <c:v>589</c:v>
                </c:pt>
                <c:pt idx="200">
                  <c:v>618</c:v>
                </c:pt>
                <c:pt idx="201">
                  <c:v>647</c:v>
                </c:pt>
                <c:pt idx="202">
                  <c:v>677</c:v>
                </c:pt>
                <c:pt idx="203">
                  <c:v>712</c:v>
                </c:pt>
                <c:pt idx="204">
                  <c:v>749</c:v>
                </c:pt>
                <c:pt idx="205">
                  <c:v>787</c:v>
                </c:pt>
                <c:pt idx="206">
                  <c:v>825</c:v>
                </c:pt>
                <c:pt idx="207">
                  <c:v>865</c:v>
                </c:pt>
                <c:pt idx="208">
                  <c:v>908</c:v>
                </c:pt>
                <c:pt idx="209">
                  <c:v>953</c:v>
                </c:pt>
                <c:pt idx="210">
                  <c:v>1001</c:v>
                </c:pt>
                <c:pt idx="211">
                  <c:v>1051</c:v>
                </c:pt>
                <c:pt idx="212">
                  <c:v>1102</c:v>
                </c:pt>
                <c:pt idx="213">
                  <c:v>1156</c:v>
                </c:pt>
                <c:pt idx="214">
                  <c:v>1213</c:v>
                </c:pt>
                <c:pt idx="215">
                  <c:v>1274</c:v>
                </c:pt>
                <c:pt idx="216">
                  <c:v>1337</c:v>
                </c:pt>
                <c:pt idx="217">
                  <c:v>1403</c:v>
                </c:pt>
                <c:pt idx="218">
                  <c:v>14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56-48BE-B88E-F8A8C486AC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498</c:v>
                </c:pt>
                <c:pt idx="196">
                  <c:v>530</c:v>
                </c:pt>
                <c:pt idx="197">
                  <c:v>564</c:v>
                </c:pt>
                <c:pt idx="198">
                  <c:v>599</c:v>
                </c:pt>
                <c:pt idx="199">
                  <c:v>638</c:v>
                </c:pt>
                <c:pt idx="200">
                  <c:v>679</c:v>
                </c:pt>
                <c:pt idx="201">
                  <c:v>722</c:v>
                </c:pt>
                <c:pt idx="202">
                  <c:v>769</c:v>
                </c:pt>
                <c:pt idx="203">
                  <c:v>818</c:v>
                </c:pt>
                <c:pt idx="204">
                  <c:v>870</c:v>
                </c:pt>
                <c:pt idx="205">
                  <c:v>926</c:v>
                </c:pt>
                <c:pt idx="206">
                  <c:v>985</c:v>
                </c:pt>
                <c:pt idx="207">
                  <c:v>1048</c:v>
                </c:pt>
                <c:pt idx="208">
                  <c:v>1115</c:v>
                </c:pt>
                <c:pt idx="209">
                  <c:v>1186</c:v>
                </c:pt>
                <c:pt idx="210">
                  <c:v>1262</c:v>
                </c:pt>
                <c:pt idx="211">
                  <c:v>1342</c:v>
                </c:pt>
                <c:pt idx="212">
                  <c:v>1428</c:v>
                </c:pt>
                <c:pt idx="213">
                  <c:v>1519</c:v>
                </c:pt>
                <c:pt idx="214">
                  <c:v>1616</c:v>
                </c:pt>
                <c:pt idx="215">
                  <c:v>1719</c:v>
                </c:pt>
                <c:pt idx="216">
                  <c:v>1829</c:v>
                </c:pt>
                <c:pt idx="217">
                  <c:v>1946</c:v>
                </c:pt>
                <c:pt idx="218">
                  <c:v>20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6E-4170-BCEC-F1AE53DCC9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9.674640170422833</c:v>
                </c:pt>
                <c:pt idx="1">
                  <c:v>22.403370724690085</c:v>
                </c:pt>
                <c:pt idx="2">
                  <c:v>18.669475603908406</c:v>
                </c:pt>
                <c:pt idx="3">
                  <c:v>16.114705258110412</c:v>
                </c:pt>
                <c:pt idx="4">
                  <c:v>15.328622074787955</c:v>
                </c:pt>
                <c:pt idx="5">
                  <c:v>14.935580483126724</c:v>
                </c:pt>
                <c:pt idx="6">
                  <c:v>14.149497299804267</c:v>
                </c:pt>
                <c:pt idx="7">
                  <c:v>15.721663666449183</c:v>
                </c:pt>
                <c:pt idx="8">
                  <c:v>15.132101278957338</c:v>
                </c:pt>
                <c:pt idx="9">
                  <c:v>15.132101278957338</c:v>
                </c:pt>
                <c:pt idx="10">
                  <c:v>14.346018095634879</c:v>
                </c:pt>
                <c:pt idx="11">
                  <c:v>14.149497299804267</c:v>
                </c:pt>
                <c:pt idx="12">
                  <c:v>13.95297650397365</c:v>
                </c:pt>
                <c:pt idx="13">
                  <c:v>12.184289341498117</c:v>
                </c:pt>
                <c:pt idx="14">
                  <c:v>10.022560587361355</c:v>
                </c:pt>
                <c:pt idx="15">
                  <c:v>9.6295189957001242</c:v>
                </c:pt>
                <c:pt idx="16">
                  <c:v>7.4677902415633621</c:v>
                </c:pt>
                <c:pt idx="17">
                  <c:v>6.0921446707490583</c:v>
                </c:pt>
                <c:pt idx="18">
                  <c:v>7.4677902415633621</c:v>
                </c:pt>
                <c:pt idx="19">
                  <c:v>7.6643110373939773</c:v>
                </c:pt>
                <c:pt idx="20">
                  <c:v>6.4851862624102878</c:v>
                </c:pt>
                <c:pt idx="21">
                  <c:v>5.3060614874265992</c:v>
                </c:pt>
                <c:pt idx="22">
                  <c:v>4.1269367124429106</c:v>
                </c:pt>
                <c:pt idx="23">
                  <c:v>3.5373743249510667</c:v>
                </c:pt>
                <c:pt idx="24">
                  <c:v>3.5373743249510667</c:v>
                </c:pt>
                <c:pt idx="25">
                  <c:v>2.1617287541367629</c:v>
                </c:pt>
                <c:pt idx="26">
                  <c:v>1.9652079583061479</c:v>
                </c:pt>
                <c:pt idx="27">
                  <c:v>2.1617287541367629</c:v>
                </c:pt>
                <c:pt idx="28">
                  <c:v>2.1617287541367629</c:v>
                </c:pt>
                <c:pt idx="29">
                  <c:v>2.1617287541367629</c:v>
                </c:pt>
                <c:pt idx="30">
                  <c:v>2.7512911416286072</c:v>
                </c:pt>
                <c:pt idx="31">
                  <c:v>2.947811937459222</c:v>
                </c:pt>
                <c:pt idx="32">
                  <c:v>3.3408535291204511</c:v>
                </c:pt>
                <c:pt idx="33">
                  <c:v>3.7338951207816811</c:v>
                </c:pt>
                <c:pt idx="34">
                  <c:v>3.5373743249510667</c:v>
                </c:pt>
                <c:pt idx="35">
                  <c:v>3.1443327332898368</c:v>
                </c:pt>
                <c:pt idx="36">
                  <c:v>6.8782278540715183</c:v>
                </c:pt>
                <c:pt idx="37">
                  <c:v>9.2364774040388955</c:v>
                </c:pt>
                <c:pt idx="38">
                  <c:v>10.21908138319197</c:v>
                </c:pt>
                <c:pt idx="39">
                  <c:v>11.398206158175659</c:v>
                </c:pt>
                <c:pt idx="40">
                  <c:v>11.005164566514429</c:v>
                </c:pt>
                <c:pt idx="41">
                  <c:v>12.380810137328734</c:v>
                </c:pt>
                <c:pt idx="42">
                  <c:v>14.149497299804267</c:v>
                </c:pt>
                <c:pt idx="43">
                  <c:v>12.970372524820576</c:v>
                </c:pt>
                <c:pt idx="44">
                  <c:v>10.612122974853198</c:v>
                </c:pt>
                <c:pt idx="45">
                  <c:v>9.8260397915307394</c:v>
                </c:pt>
                <c:pt idx="46">
                  <c:v>9.2364774040388955</c:v>
                </c:pt>
                <c:pt idx="47">
                  <c:v>9.2364774040388955</c:v>
                </c:pt>
                <c:pt idx="48">
                  <c:v>7.6643110373939773</c:v>
                </c:pt>
                <c:pt idx="49">
                  <c:v>7.6643110373939773</c:v>
                </c:pt>
                <c:pt idx="50">
                  <c:v>6.6817070582409022</c:v>
                </c:pt>
                <c:pt idx="51">
                  <c:v>6.6817070582409022</c:v>
                </c:pt>
                <c:pt idx="52">
                  <c:v>6.8782278540715183</c:v>
                </c:pt>
                <c:pt idx="53">
                  <c:v>6.0921446707490583</c:v>
                </c:pt>
                <c:pt idx="54">
                  <c:v>6.2886654665796735</c:v>
                </c:pt>
                <c:pt idx="55">
                  <c:v>6.8782278540715183</c:v>
                </c:pt>
                <c:pt idx="56">
                  <c:v>7.4677902415633621</c:v>
                </c:pt>
                <c:pt idx="57">
                  <c:v>6.6817070582409022</c:v>
                </c:pt>
                <c:pt idx="58">
                  <c:v>7.0747486499021335</c:v>
                </c:pt>
                <c:pt idx="59">
                  <c:v>7.0747486499021335</c:v>
                </c:pt>
                <c:pt idx="60">
                  <c:v>8.057352629055206</c:v>
                </c:pt>
                <c:pt idx="61">
                  <c:v>8.8434358123776668</c:v>
                </c:pt>
                <c:pt idx="62">
                  <c:v>9.0399566082082803</c:v>
                </c:pt>
                <c:pt idx="63">
                  <c:v>8.6469150165470516</c:v>
                </c:pt>
                <c:pt idx="64">
                  <c:v>10.415602179022585</c:v>
                </c:pt>
                <c:pt idx="65">
                  <c:v>11.201685362345042</c:v>
                </c:pt>
                <c:pt idx="66">
                  <c:v>11.791247749836888</c:v>
                </c:pt>
                <c:pt idx="67">
                  <c:v>12.184289341498117</c:v>
                </c:pt>
                <c:pt idx="68">
                  <c:v>11.398206158175659</c:v>
                </c:pt>
                <c:pt idx="69">
                  <c:v>12.577330933159347</c:v>
                </c:pt>
                <c:pt idx="70">
                  <c:v>13.95297650397365</c:v>
                </c:pt>
                <c:pt idx="71">
                  <c:v>13.363414116481804</c:v>
                </c:pt>
                <c:pt idx="72">
                  <c:v>12.970372524820576</c:v>
                </c:pt>
                <c:pt idx="73">
                  <c:v>12.380810137328734</c:v>
                </c:pt>
                <c:pt idx="74">
                  <c:v>11.201685362345042</c:v>
                </c:pt>
                <c:pt idx="75">
                  <c:v>11.398206158175659</c:v>
                </c:pt>
                <c:pt idx="76">
                  <c:v>11.987768545667503</c:v>
                </c:pt>
                <c:pt idx="77">
                  <c:v>11.201685362345042</c:v>
                </c:pt>
                <c:pt idx="78">
                  <c:v>11.005164566514429</c:v>
                </c:pt>
                <c:pt idx="79">
                  <c:v>10.415602179022585</c:v>
                </c:pt>
                <c:pt idx="80">
                  <c:v>9.8260397915307394</c:v>
                </c:pt>
                <c:pt idx="81">
                  <c:v>10.415602179022585</c:v>
                </c:pt>
                <c:pt idx="82">
                  <c:v>10.022560587361355</c:v>
                </c:pt>
                <c:pt idx="83">
                  <c:v>8.057352629055206</c:v>
                </c:pt>
                <c:pt idx="84">
                  <c:v>6.8782278540715183</c:v>
                </c:pt>
                <c:pt idx="85">
                  <c:v>8.8434358123776668</c:v>
                </c:pt>
                <c:pt idx="86">
                  <c:v>9.6295189957001242</c:v>
                </c:pt>
                <c:pt idx="87">
                  <c:v>10.415602179022585</c:v>
                </c:pt>
                <c:pt idx="88">
                  <c:v>9.6295189957001242</c:v>
                </c:pt>
                <c:pt idx="89">
                  <c:v>10.022560587361355</c:v>
                </c:pt>
                <c:pt idx="90">
                  <c:v>9.8260397915307394</c:v>
                </c:pt>
                <c:pt idx="91">
                  <c:v>11.005164566514429</c:v>
                </c:pt>
                <c:pt idx="92">
                  <c:v>9.8260397915307394</c:v>
                </c:pt>
                <c:pt idx="93">
                  <c:v>10.022560587361355</c:v>
                </c:pt>
                <c:pt idx="94">
                  <c:v>11.791247749836888</c:v>
                </c:pt>
                <c:pt idx="95">
                  <c:v>12.184289341498117</c:v>
                </c:pt>
                <c:pt idx="96">
                  <c:v>12.577330933159347</c:v>
                </c:pt>
                <c:pt idx="97">
                  <c:v>15.132101278957338</c:v>
                </c:pt>
                <c:pt idx="98">
                  <c:v>14.542538891465496</c:v>
                </c:pt>
                <c:pt idx="99">
                  <c:v>18.276434012247176</c:v>
                </c:pt>
                <c:pt idx="100">
                  <c:v>18.669475603908406</c:v>
                </c:pt>
                <c:pt idx="101">
                  <c:v>20.43816276638394</c:v>
                </c:pt>
                <c:pt idx="102">
                  <c:v>21.420766745537016</c:v>
                </c:pt>
                <c:pt idx="103">
                  <c:v>21.027725153875782</c:v>
                </c:pt>
                <c:pt idx="104">
                  <c:v>21.617287541367627</c:v>
                </c:pt>
                <c:pt idx="105">
                  <c:v>21.420766745537016</c:v>
                </c:pt>
                <c:pt idx="106">
                  <c:v>17.293830033094103</c:v>
                </c:pt>
                <c:pt idx="107">
                  <c:v>17.490350828924715</c:v>
                </c:pt>
                <c:pt idx="108">
                  <c:v>16.114705258110412</c:v>
                </c:pt>
                <c:pt idx="109">
                  <c:v>15.918184462279799</c:v>
                </c:pt>
                <c:pt idx="110">
                  <c:v>16.114705258110412</c:v>
                </c:pt>
                <c:pt idx="111">
                  <c:v>13.95297650397365</c:v>
                </c:pt>
                <c:pt idx="112">
                  <c:v>16.114705258110412</c:v>
                </c:pt>
                <c:pt idx="113">
                  <c:v>17.097309237263488</c:v>
                </c:pt>
                <c:pt idx="114">
                  <c:v>16.311226053941027</c:v>
                </c:pt>
                <c:pt idx="115">
                  <c:v>16.311226053941027</c:v>
                </c:pt>
                <c:pt idx="116">
                  <c:v>18.276434012247176</c:v>
                </c:pt>
                <c:pt idx="117">
                  <c:v>19.455558787230864</c:v>
                </c:pt>
                <c:pt idx="118">
                  <c:v>21.813808337198243</c:v>
                </c:pt>
                <c:pt idx="119">
                  <c:v>20.045121174722709</c:v>
                </c:pt>
                <c:pt idx="120">
                  <c:v>19.455558787230864</c:v>
                </c:pt>
                <c:pt idx="121">
                  <c:v>22.010329133028858</c:v>
                </c:pt>
                <c:pt idx="122">
                  <c:v>23.975537091335006</c:v>
                </c:pt>
                <c:pt idx="123">
                  <c:v>22.99293311218193</c:v>
                </c:pt>
                <c:pt idx="124">
                  <c:v>22.599891520520703</c:v>
                </c:pt>
                <c:pt idx="125">
                  <c:v>23.779016295504391</c:v>
                </c:pt>
                <c:pt idx="126">
                  <c:v>27.316390620455458</c:v>
                </c:pt>
                <c:pt idx="127">
                  <c:v>32.032889720390216</c:v>
                </c:pt>
                <c:pt idx="128">
                  <c:v>34.194618474526976</c:v>
                </c:pt>
                <c:pt idx="129">
                  <c:v>34.784180862018815</c:v>
                </c:pt>
                <c:pt idx="130">
                  <c:v>34.391139270357591</c:v>
                </c:pt>
                <c:pt idx="131">
                  <c:v>33.801576882865746</c:v>
                </c:pt>
                <c:pt idx="132">
                  <c:v>34.98070165784943</c:v>
                </c:pt>
                <c:pt idx="133">
                  <c:v>35.766784841171891</c:v>
                </c:pt>
                <c:pt idx="134">
                  <c:v>38.714596778631112</c:v>
                </c:pt>
                <c:pt idx="135">
                  <c:v>40.483283941106649</c:v>
                </c:pt>
                <c:pt idx="136">
                  <c:v>56.401468403386446</c:v>
                </c:pt>
                <c:pt idx="137">
                  <c:v>60.331884319998743</c:v>
                </c:pt>
                <c:pt idx="138">
                  <c:v>61.904050686643657</c:v>
                </c:pt>
                <c:pt idx="139">
                  <c:v>73.498777640649934</c:v>
                </c:pt>
                <c:pt idx="140">
                  <c:v>88.630878919607269</c:v>
                </c:pt>
                <c:pt idx="141">
                  <c:v>100.61864746527478</c:v>
                </c:pt>
                <c:pt idx="142">
                  <c:v>113.19597839843414</c:v>
                </c:pt>
                <c:pt idx="143">
                  <c:v>132.06197479817314</c:v>
                </c:pt>
                <c:pt idx="144">
                  <c:v>146.21147209797741</c:v>
                </c:pt>
                <c:pt idx="145">
                  <c:v>150.73145040208155</c:v>
                </c:pt>
                <c:pt idx="146">
                  <c:v>159.37836541862859</c:v>
                </c:pt>
                <c:pt idx="147">
                  <c:v>199.27208697224341</c:v>
                </c:pt>
                <c:pt idx="148">
                  <c:v>212.4389802928946</c:v>
                </c:pt>
                <c:pt idx="149">
                  <c:v>240.54145409667251</c:v>
                </c:pt>
                <c:pt idx="150">
                  <c:v>238.37972534253575</c:v>
                </c:pt>
                <c:pt idx="151">
                  <c:v>246.24055717576036</c:v>
                </c:pt>
                <c:pt idx="152">
                  <c:v>248.59880672572771</c:v>
                </c:pt>
                <c:pt idx="153">
                  <c:v>266.87524073797488</c:v>
                </c:pt>
                <c:pt idx="154">
                  <c:v>276.11171814201379</c:v>
                </c:pt>
                <c:pt idx="155">
                  <c:v>295.17423533758341</c:v>
                </c:pt>
                <c:pt idx="156">
                  <c:v>302.8385463749774</c:v>
                </c:pt>
                <c:pt idx="157">
                  <c:v>355.89916124924338</c:v>
                </c:pt>
                <c:pt idx="158">
                  <c:v>359.43653557419447</c:v>
                </c:pt>
                <c:pt idx="159">
                  <c:v>364.34955546995985</c:v>
                </c:pt>
                <c:pt idx="160">
                  <c:v>377.90949038227228</c:v>
                </c:pt>
                <c:pt idx="161">
                  <c:v>421.34058626083811</c:v>
                </c:pt>
                <c:pt idx="162">
                  <c:v>448.06741449380166</c:v>
                </c:pt>
                <c:pt idx="163">
                  <c:v>456.32128791868757</c:v>
                </c:pt>
                <c:pt idx="164">
                  <c:v>541.61131330917431</c:v>
                </c:pt>
                <c:pt idx="165">
                  <c:v>548.48954116324592</c:v>
                </c:pt>
                <c:pt idx="166">
                  <c:v>565.19380880884819</c:v>
                </c:pt>
                <c:pt idx="167">
                  <c:v>579.73634770031367</c:v>
                </c:pt>
                <c:pt idx="168">
                  <c:v>659.13074921588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6E-4170-BCEC-F1AE53DCC9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464.57516134357337</c:v>
                </c:pt>
                <c:pt idx="165" formatCode="0">
                  <c:v>479.70726262253072</c:v>
                </c:pt>
                <c:pt idx="166" formatCode="0">
                  <c:v>493.26719753484309</c:v>
                </c:pt>
                <c:pt idx="167" formatCode="0">
                  <c:v>506.04104926383309</c:v>
                </c:pt>
                <c:pt idx="168" formatCode="0">
                  <c:v>516.84969303451692</c:v>
                </c:pt>
                <c:pt idx="169" formatCode="0">
                  <c:v>524.71052486774147</c:v>
                </c:pt>
                <c:pt idx="170" formatCode="0">
                  <c:v>529.03398237601505</c:v>
                </c:pt>
                <c:pt idx="171" formatCode="0">
                  <c:v>536.69829341340892</c:v>
                </c:pt>
                <c:pt idx="172" formatCode="0">
                  <c:v>548.09649957158467</c:v>
                </c:pt>
                <c:pt idx="173" formatCode="0">
                  <c:v>559.69122652559088</c:v>
                </c:pt>
                <c:pt idx="174" formatCode="0">
                  <c:v>570.10682870461358</c:v>
                </c:pt>
                <c:pt idx="175" formatCode="0">
                  <c:v>579.93286849614424</c:v>
                </c:pt>
                <c:pt idx="176" formatCode="0">
                  <c:v>589.75890828767501</c:v>
                </c:pt>
                <c:pt idx="177" formatCode="0">
                  <c:v>600.1745104666976</c:v>
                </c:pt>
                <c:pt idx="178" formatCode="0">
                  <c:v>611.96575821653448</c:v>
                </c:pt>
                <c:pt idx="179" formatCode="0">
                  <c:v>623.75700596637137</c:v>
                </c:pt>
                <c:pt idx="180" formatCode="0">
                  <c:v>635.15521212454701</c:v>
                </c:pt>
                <c:pt idx="181" formatCode="0">
                  <c:v>646.35689748689197</c:v>
                </c:pt>
                <c:pt idx="182" formatCode="0">
                  <c:v>657.75510364506772</c:v>
                </c:pt>
                <c:pt idx="183" formatCode="0">
                  <c:v>669.74287219073528</c:v>
                </c:pt>
                <c:pt idx="184" formatCode="0">
                  <c:v>682.32020312389454</c:v>
                </c:pt>
                <c:pt idx="185" formatCode="0">
                  <c:v>694.89753405705392</c:v>
                </c:pt>
                <c:pt idx="186" formatCode="0">
                  <c:v>707.47486499021329</c:v>
                </c:pt>
                <c:pt idx="187" formatCode="0">
                  <c:v>720.05219592337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6E-4170-BCEC-F1AE53DCC9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467.1299316893714</c:v>
                </c:pt>
                <c:pt idx="165" formatCode="0">
                  <c:v>486.38896968077165</c:v>
                </c:pt>
                <c:pt idx="166" formatCode="0">
                  <c:v>505.25496608051066</c:v>
                </c:pt>
                <c:pt idx="167" formatCode="0">
                  <c:v>524.31748327608022</c:v>
                </c:pt>
                <c:pt idx="168" formatCode="0">
                  <c:v>542.59391728832748</c:v>
                </c:pt>
                <c:pt idx="169" formatCode="0">
                  <c:v>559.29818493392975</c:v>
                </c:pt>
                <c:pt idx="170" formatCode="0">
                  <c:v>574.43028621288704</c:v>
                </c:pt>
                <c:pt idx="171" formatCode="0">
                  <c:v>592.11715783764237</c:v>
                </c:pt>
                <c:pt idx="172" formatCode="0">
                  <c:v>613.53792458317935</c:v>
                </c:pt>
                <c:pt idx="173" formatCode="0">
                  <c:v>635.74477451203882</c:v>
                </c:pt>
                <c:pt idx="174" formatCode="0">
                  <c:v>657.75510364506772</c:v>
                </c:pt>
                <c:pt idx="175" formatCode="0">
                  <c:v>679.76543277809662</c:v>
                </c:pt>
                <c:pt idx="176" formatCode="0">
                  <c:v>702.75836589027847</c:v>
                </c:pt>
                <c:pt idx="177" formatCode="0">
                  <c:v>726.73390298161348</c:v>
                </c:pt>
                <c:pt idx="178" formatCode="0">
                  <c:v>752.47812723542404</c:v>
                </c:pt>
                <c:pt idx="179" formatCode="0">
                  <c:v>778.81191387672641</c:v>
                </c:pt>
                <c:pt idx="180" formatCode="0">
                  <c:v>805.53874210969013</c:v>
                </c:pt>
                <c:pt idx="181" formatCode="0">
                  <c:v>832.85513273014556</c:v>
                </c:pt>
                <c:pt idx="182" formatCode="0">
                  <c:v>861.3506481255846</c:v>
                </c:pt>
                <c:pt idx="183" formatCode="0">
                  <c:v>890.82876750017692</c:v>
                </c:pt>
                <c:pt idx="184" formatCode="0">
                  <c:v>921.68253244558332</c:v>
                </c:pt>
                <c:pt idx="185" formatCode="0">
                  <c:v>953.32238057431232</c:v>
                </c:pt>
                <c:pt idx="186" formatCode="0">
                  <c:v>985.94483268219449</c:v>
                </c:pt>
                <c:pt idx="187" formatCode="0">
                  <c:v>1019.5498887692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6E-4170-BCEC-F1AE53DCC9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469.88122283099995</c:v>
                </c:pt>
                <c:pt idx="165" formatCode="0">
                  <c:v>493.26719753484309</c:v>
                </c:pt>
                <c:pt idx="166" formatCode="0">
                  <c:v>517.43925542200873</c:v>
                </c:pt>
                <c:pt idx="167" formatCode="0">
                  <c:v>542.59391728832748</c:v>
                </c:pt>
                <c:pt idx="168" formatCode="0">
                  <c:v>568.33814154213803</c:v>
                </c:pt>
                <c:pt idx="169" formatCode="0">
                  <c:v>594.47540738760983</c:v>
                </c:pt>
                <c:pt idx="170" formatCode="0">
                  <c:v>620.8091940289122</c:v>
                </c:pt>
                <c:pt idx="171" formatCode="0">
                  <c:v>649.30470942435136</c:v>
                </c:pt>
                <c:pt idx="172" formatCode="0">
                  <c:v>682.12368232806398</c:v>
                </c:pt>
                <c:pt idx="173" formatCode="0">
                  <c:v>716.51482159842158</c:v>
                </c:pt>
                <c:pt idx="174" formatCode="0">
                  <c:v>752.0850856437628</c:v>
                </c:pt>
                <c:pt idx="175" formatCode="0">
                  <c:v>789.22751605574899</c:v>
                </c:pt>
                <c:pt idx="176" formatCode="0">
                  <c:v>828.13863363021073</c:v>
                </c:pt>
                <c:pt idx="177" formatCode="0">
                  <c:v>869.21147995880926</c:v>
                </c:pt>
                <c:pt idx="178" formatCode="0">
                  <c:v>912.64257583737515</c:v>
                </c:pt>
                <c:pt idx="179" formatCode="0">
                  <c:v>958.23540047007771</c:v>
                </c:pt>
                <c:pt idx="180" formatCode="0">
                  <c:v>1005.5969122652559</c:v>
                </c:pt>
                <c:pt idx="181" formatCode="0">
                  <c:v>1055.3166736104013</c:v>
                </c:pt>
                <c:pt idx="182" formatCode="0">
                  <c:v>1107.3946845055143</c:v>
                </c:pt>
                <c:pt idx="183" formatCode="0">
                  <c:v>1162.2239865422559</c:v>
                </c:pt>
                <c:pt idx="184" formatCode="0">
                  <c:v>1219.804579720626</c:v>
                </c:pt>
                <c:pt idx="185" formatCode="0">
                  <c:v>1280.3329848364554</c:v>
                </c:pt>
                <c:pt idx="186" formatCode="0">
                  <c:v>1343.6126810939134</c:v>
                </c:pt>
                <c:pt idx="187" formatCode="0">
                  <c:v>1410.03671008466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A6E-4170-BCEC-F1AE53DCC9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472.43599317679798</c:v>
                </c:pt>
                <c:pt idx="165" formatCode="0">
                  <c:v>500.14542538891465</c:v>
                </c:pt>
                <c:pt idx="166" formatCode="0">
                  <c:v>529.62354476350686</c:v>
                </c:pt>
                <c:pt idx="167" formatCode="0">
                  <c:v>560.87035130057461</c:v>
                </c:pt>
                <c:pt idx="168" formatCode="0">
                  <c:v>594.27888659177916</c:v>
                </c:pt>
                <c:pt idx="169" formatCode="0">
                  <c:v>629.84915063712049</c:v>
                </c:pt>
                <c:pt idx="170" formatCode="0">
                  <c:v>668.17070582409031</c:v>
                </c:pt>
                <c:pt idx="171" formatCode="0">
                  <c:v>708.65398976519691</c:v>
                </c:pt>
                <c:pt idx="172" formatCode="0">
                  <c:v>753.85377280623834</c:v>
                </c:pt>
                <c:pt idx="173" formatCode="0">
                  <c:v>802.00136778473905</c:v>
                </c:pt>
                <c:pt idx="174" formatCode="0">
                  <c:v>853.29329549652948</c:v>
                </c:pt>
                <c:pt idx="175" formatCode="0">
                  <c:v>907.92607673744044</c:v>
                </c:pt>
                <c:pt idx="176" formatCode="0">
                  <c:v>966.09623230330226</c:v>
                </c:pt>
                <c:pt idx="177" formatCode="0">
                  <c:v>1027.8037621941153</c:v>
                </c:pt>
                <c:pt idx="178" formatCode="0">
                  <c:v>1093.4417080015407</c:v>
                </c:pt>
                <c:pt idx="179" formatCode="0">
                  <c:v>1163.4031113172396</c:v>
                </c:pt>
                <c:pt idx="180" formatCode="0">
                  <c:v>1237.687972141212</c:v>
                </c:pt>
                <c:pt idx="181" formatCode="0">
                  <c:v>1316.8858528609496</c:v>
                </c:pt>
                <c:pt idx="182" formatCode="0">
                  <c:v>1400.996753476453</c:v>
                </c:pt>
                <c:pt idx="183" formatCode="0">
                  <c:v>1490.6102363752132</c:v>
                </c:pt>
                <c:pt idx="184" formatCode="0">
                  <c:v>1585.7263015572307</c:v>
                </c:pt>
                <c:pt idx="185" formatCode="0">
                  <c:v>1686.9345114099974</c:v>
                </c:pt>
                <c:pt idx="186" formatCode="0">
                  <c:v>1794.4313867293438</c:v>
                </c:pt>
                <c:pt idx="187" formatCode="0">
                  <c:v>1908.8064899027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21</c:v>
                </c:pt>
                <c:pt idx="1">
                  <c:v>67</c:v>
                </c:pt>
                <c:pt idx="2">
                  <c:v>209</c:v>
                </c:pt>
                <c:pt idx="3">
                  <c:v>304</c:v>
                </c:pt>
                <c:pt idx="4">
                  <c:v>208</c:v>
                </c:pt>
                <c:pt idx="5">
                  <c:v>194</c:v>
                </c:pt>
                <c:pt idx="6">
                  <c:v>204</c:v>
                </c:pt>
                <c:pt idx="7">
                  <c:v>87</c:v>
                </c:pt>
                <c:pt idx="8">
                  <c:v>73</c:v>
                </c:pt>
                <c:pt idx="9">
                  <c:v>168</c:v>
                </c:pt>
                <c:pt idx="10">
                  <c:v>227</c:v>
                </c:pt>
                <c:pt idx="11">
                  <c:v>160</c:v>
                </c:pt>
                <c:pt idx="12">
                  <c:v>132</c:v>
                </c:pt>
                <c:pt idx="13">
                  <c:v>101</c:v>
                </c:pt>
                <c:pt idx="14">
                  <c:v>99</c:v>
                </c:pt>
                <c:pt idx="15">
                  <c:v>59</c:v>
                </c:pt>
                <c:pt idx="16">
                  <c:v>102</c:v>
                </c:pt>
                <c:pt idx="17">
                  <c:v>169</c:v>
                </c:pt>
                <c:pt idx="18">
                  <c:v>113</c:v>
                </c:pt>
                <c:pt idx="19">
                  <c:v>59</c:v>
                </c:pt>
                <c:pt idx="20">
                  <c:v>86</c:v>
                </c:pt>
                <c:pt idx="21">
                  <c:v>32</c:v>
                </c:pt>
                <c:pt idx="22">
                  <c:v>39</c:v>
                </c:pt>
                <c:pt idx="23">
                  <c:v>61</c:v>
                </c:pt>
                <c:pt idx="24">
                  <c:v>77</c:v>
                </c:pt>
                <c:pt idx="25">
                  <c:v>63</c:v>
                </c:pt>
                <c:pt idx="26">
                  <c:v>66</c:v>
                </c:pt>
                <c:pt idx="27">
                  <c:v>29</c:v>
                </c:pt>
                <c:pt idx="28">
                  <c:v>27</c:v>
                </c:pt>
                <c:pt idx="29">
                  <c:v>9</c:v>
                </c:pt>
                <c:pt idx="30">
                  <c:v>59</c:v>
                </c:pt>
                <c:pt idx="31">
                  <c:v>41</c:v>
                </c:pt>
                <c:pt idx="32">
                  <c:v>45</c:v>
                </c:pt>
                <c:pt idx="33">
                  <c:v>32</c:v>
                </c:pt>
                <c:pt idx="34">
                  <c:v>34</c:v>
                </c:pt>
                <c:pt idx="35">
                  <c:v>17</c:v>
                </c:pt>
                <c:pt idx="36">
                  <c:v>5</c:v>
                </c:pt>
                <c:pt idx="37">
                  <c:v>25</c:v>
                </c:pt>
                <c:pt idx="38">
                  <c:v>36</c:v>
                </c:pt>
                <c:pt idx="39">
                  <c:v>20</c:v>
                </c:pt>
                <c:pt idx="40">
                  <c:v>20</c:v>
                </c:pt>
                <c:pt idx="41">
                  <c:v>18</c:v>
                </c:pt>
                <c:pt idx="42">
                  <c:v>12</c:v>
                </c:pt>
                <c:pt idx="43">
                  <c:v>6</c:v>
                </c:pt>
                <c:pt idx="44">
                  <c:v>12</c:v>
                </c:pt>
                <c:pt idx="45">
                  <c:v>12</c:v>
                </c:pt>
                <c:pt idx="46">
                  <c:v>15</c:v>
                </c:pt>
                <c:pt idx="47">
                  <c:v>6</c:v>
                </c:pt>
                <c:pt idx="48">
                  <c:v>18</c:v>
                </c:pt>
                <c:pt idx="49">
                  <c:v>0</c:v>
                </c:pt>
                <c:pt idx="50">
                  <c:v>5</c:v>
                </c:pt>
                <c:pt idx="51">
                  <c:v>10</c:v>
                </c:pt>
                <c:pt idx="52">
                  <c:v>12</c:v>
                </c:pt>
                <c:pt idx="53">
                  <c:v>9</c:v>
                </c:pt>
                <c:pt idx="54">
                  <c:v>8</c:v>
                </c:pt>
                <c:pt idx="55">
                  <c:v>9</c:v>
                </c:pt>
                <c:pt idx="56">
                  <c:v>4</c:v>
                </c:pt>
                <c:pt idx="57">
                  <c:v>6</c:v>
                </c:pt>
                <c:pt idx="58">
                  <c:v>14</c:v>
                </c:pt>
                <c:pt idx="59">
                  <c:v>11</c:v>
                </c:pt>
                <c:pt idx="60">
                  <c:v>5</c:v>
                </c:pt>
                <c:pt idx="61">
                  <c:v>9</c:v>
                </c:pt>
                <c:pt idx="62">
                  <c:v>6</c:v>
                </c:pt>
                <c:pt idx="63">
                  <c:v>11</c:v>
                </c:pt>
                <c:pt idx="64">
                  <c:v>4</c:v>
                </c:pt>
                <c:pt idx="65">
                  <c:v>5</c:v>
                </c:pt>
                <c:pt idx="66">
                  <c:v>3</c:v>
                </c:pt>
                <c:pt idx="67">
                  <c:v>13</c:v>
                </c:pt>
                <c:pt idx="68">
                  <c:v>10</c:v>
                </c:pt>
                <c:pt idx="69">
                  <c:v>16</c:v>
                </c:pt>
                <c:pt idx="70">
                  <c:v>5</c:v>
                </c:pt>
                <c:pt idx="71">
                  <c:v>2</c:v>
                </c:pt>
                <c:pt idx="72">
                  <c:v>13</c:v>
                </c:pt>
                <c:pt idx="73">
                  <c:v>9</c:v>
                </c:pt>
                <c:pt idx="74">
                  <c:v>20</c:v>
                </c:pt>
                <c:pt idx="75">
                  <c:v>13</c:v>
                </c:pt>
                <c:pt idx="76">
                  <c:v>11</c:v>
                </c:pt>
                <c:pt idx="77">
                  <c:v>7</c:v>
                </c:pt>
                <c:pt idx="78">
                  <c:v>2</c:v>
                </c:pt>
                <c:pt idx="79">
                  <c:v>15</c:v>
                </c:pt>
                <c:pt idx="80">
                  <c:v>14</c:v>
                </c:pt>
                <c:pt idx="81">
                  <c:v>14</c:v>
                </c:pt>
                <c:pt idx="82">
                  <c:v>18</c:v>
                </c:pt>
                <c:pt idx="83">
                  <c:v>9</c:v>
                </c:pt>
                <c:pt idx="84">
                  <c:v>15</c:v>
                </c:pt>
                <c:pt idx="85">
                  <c:v>9</c:v>
                </c:pt>
                <c:pt idx="86">
                  <c:v>17</c:v>
                </c:pt>
                <c:pt idx="87">
                  <c:v>19</c:v>
                </c:pt>
                <c:pt idx="88">
                  <c:v>14</c:v>
                </c:pt>
                <c:pt idx="89">
                  <c:v>12</c:v>
                </c:pt>
                <c:pt idx="90">
                  <c:v>14</c:v>
                </c:pt>
                <c:pt idx="91">
                  <c:v>6</c:v>
                </c:pt>
                <c:pt idx="92">
                  <c:v>4</c:v>
                </c:pt>
                <c:pt idx="93">
                  <c:v>14</c:v>
                </c:pt>
                <c:pt idx="94">
                  <c:v>22</c:v>
                </c:pt>
                <c:pt idx="95">
                  <c:v>28</c:v>
                </c:pt>
                <c:pt idx="96">
                  <c:v>20</c:v>
                </c:pt>
                <c:pt idx="97">
                  <c:v>17</c:v>
                </c:pt>
                <c:pt idx="98">
                  <c:v>9</c:v>
                </c:pt>
                <c:pt idx="99">
                  <c:v>6</c:v>
                </c:pt>
                <c:pt idx="100">
                  <c:v>19</c:v>
                </c:pt>
                <c:pt idx="101">
                  <c:v>12</c:v>
                </c:pt>
                <c:pt idx="102">
                  <c:v>27</c:v>
                </c:pt>
                <c:pt idx="103">
                  <c:v>13</c:v>
                </c:pt>
                <c:pt idx="104">
                  <c:v>20</c:v>
                </c:pt>
                <c:pt idx="105">
                  <c:v>13</c:v>
                </c:pt>
                <c:pt idx="106">
                  <c:v>1</c:v>
                </c:pt>
                <c:pt idx="107">
                  <c:v>19</c:v>
                </c:pt>
                <c:pt idx="108">
                  <c:v>26</c:v>
                </c:pt>
                <c:pt idx="109">
                  <c:v>18</c:v>
                </c:pt>
                <c:pt idx="110">
                  <c:v>11</c:v>
                </c:pt>
                <c:pt idx="111">
                  <c:v>14</c:v>
                </c:pt>
                <c:pt idx="112">
                  <c:v>7</c:v>
                </c:pt>
                <c:pt idx="113">
                  <c:v>8</c:v>
                </c:pt>
                <c:pt idx="114">
                  <c:v>33</c:v>
                </c:pt>
                <c:pt idx="115">
                  <c:v>26</c:v>
                </c:pt>
                <c:pt idx="116">
                  <c:v>24</c:v>
                </c:pt>
                <c:pt idx="117">
                  <c:v>26</c:v>
                </c:pt>
                <c:pt idx="118">
                  <c:v>17</c:v>
                </c:pt>
                <c:pt idx="119">
                  <c:v>10</c:v>
                </c:pt>
                <c:pt idx="120">
                  <c:v>3</c:v>
                </c:pt>
                <c:pt idx="121">
                  <c:v>18</c:v>
                </c:pt>
                <c:pt idx="122">
                  <c:v>26</c:v>
                </c:pt>
                <c:pt idx="123">
                  <c:v>42</c:v>
                </c:pt>
                <c:pt idx="124">
                  <c:v>32</c:v>
                </c:pt>
                <c:pt idx="125">
                  <c:v>33</c:v>
                </c:pt>
                <c:pt idx="126">
                  <c:v>27</c:v>
                </c:pt>
                <c:pt idx="127">
                  <c:v>21</c:v>
                </c:pt>
                <c:pt idx="128">
                  <c:v>55</c:v>
                </c:pt>
                <c:pt idx="129">
                  <c:v>47</c:v>
                </c:pt>
                <c:pt idx="130">
                  <c:v>32</c:v>
                </c:pt>
                <c:pt idx="131">
                  <c:v>47</c:v>
                </c:pt>
                <c:pt idx="132">
                  <c:v>49</c:v>
                </c:pt>
                <c:pt idx="133">
                  <c:v>23</c:v>
                </c:pt>
                <c:pt idx="134">
                  <c:v>13</c:v>
                </c:pt>
                <c:pt idx="135">
                  <c:v>54</c:v>
                </c:pt>
                <c:pt idx="136">
                  <c:v>56</c:v>
                </c:pt>
                <c:pt idx="137">
                  <c:v>56</c:v>
                </c:pt>
                <c:pt idx="138">
                  <c:v>65</c:v>
                </c:pt>
                <c:pt idx="139">
                  <c:v>53</c:v>
                </c:pt>
                <c:pt idx="140">
                  <c:v>32</c:v>
                </c:pt>
                <c:pt idx="141">
                  <c:v>16</c:v>
                </c:pt>
                <c:pt idx="142">
                  <c:v>46</c:v>
                </c:pt>
                <c:pt idx="143">
                  <c:v>49</c:v>
                </c:pt>
                <c:pt idx="144">
                  <c:v>47</c:v>
                </c:pt>
                <c:pt idx="145">
                  <c:v>53</c:v>
                </c:pt>
                <c:pt idx="146">
                  <c:v>64</c:v>
                </c:pt>
                <c:pt idx="147">
                  <c:v>48</c:v>
                </c:pt>
                <c:pt idx="148">
                  <c:v>33</c:v>
                </c:pt>
                <c:pt idx="149">
                  <c:v>98</c:v>
                </c:pt>
                <c:pt idx="150">
                  <c:v>50</c:v>
                </c:pt>
                <c:pt idx="151">
                  <c:v>122</c:v>
                </c:pt>
                <c:pt idx="152">
                  <c:v>133</c:v>
                </c:pt>
                <c:pt idx="153">
                  <c:v>75</c:v>
                </c:pt>
                <c:pt idx="154">
                  <c:v>77</c:v>
                </c:pt>
                <c:pt idx="155">
                  <c:v>37</c:v>
                </c:pt>
                <c:pt idx="156">
                  <c:v>111</c:v>
                </c:pt>
                <c:pt idx="157">
                  <c:v>123</c:v>
                </c:pt>
                <c:pt idx="158">
                  <c:v>131</c:v>
                </c:pt>
                <c:pt idx="159">
                  <c:v>106</c:v>
                </c:pt>
                <c:pt idx="160">
                  <c:v>143</c:v>
                </c:pt>
                <c:pt idx="161">
                  <c:v>63</c:v>
                </c:pt>
                <c:pt idx="162">
                  <c:v>42</c:v>
                </c:pt>
                <c:pt idx="163">
                  <c:v>184</c:v>
                </c:pt>
                <c:pt idx="164">
                  <c:v>161</c:v>
                </c:pt>
                <c:pt idx="165">
                  <c:v>157</c:v>
                </c:pt>
                <c:pt idx="166">
                  <c:v>210</c:v>
                </c:pt>
                <c:pt idx="167">
                  <c:v>174</c:v>
                </c:pt>
                <c:pt idx="168">
                  <c:v>144</c:v>
                </c:pt>
                <c:pt idx="169">
                  <c:v>121</c:v>
                </c:pt>
                <c:pt idx="170">
                  <c:v>328</c:v>
                </c:pt>
                <c:pt idx="171">
                  <c:v>354</c:v>
                </c:pt>
                <c:pt idx="172">
                  <c:v>414</c:v>
                </c:pt>
                <c:pt idx="173">
                  <c:v>461</c:v>
                </c:pt>
                <c:pt idx="174">
                  <c:v>610</c:v>
                </c:pt>
                <c:pt idx="175">
                  <c:v>331</c:v>
                </c:pt>
                <c:pt idx="176">
                  <c:v>285</c:v>
                </c:pt>
                <c:pt idx="177">
                  <c:v>691</c:v>
                </c:pt>
                <c:pt idx="178">
                  <c:v>808</c:v>
                </c:pt>
                <c:pt idx="179">
                  <c:v>844</c:v>
                </c:pt>
                <c:pt idx="180">
                  <c:v>576</c:v>
                </c:pt>
                <c:pt idx="181">
                  <c:v>929</c:v>
                </c:pt>
                <c:pt idx="182">
                  <c:v>765</c:v>
                </c:pt>
                <c:pt idx="183">
                  <c:v>424</c:v>
                </c:pt>
                <c:pt idx="184">
                  <c:v>1301</c:v>
                </c:pt>
                <c:pt idx="185">
                  <c:v>1505</c:v>
                </c:pt>
                <c:pt idx="186">
                  <c:v>1356</c:v>
                </c:pt>
                <c:pt idx="187">
                  <c:v>1113</c:v>
                </c:pt>
                <c:pt idx="188">
                  <c:v>1414</c:v>
                </c:pt>
                <c:pt idx="189">
                  <c:v>673</c:v>
                </c:pt>
                <c:pt idx="190">
                  <c:v>462</c:v>
                </c:pt>
                <c:pt idx="191">
                  <c:v>1554</c:v>
                </c:pt>
                <c:pt idx="192">
                  <c:v>2082</c:v>
                </c:pt>
                <c:pt idx="193">
                  <c:v>2059</c:v>
                </c:pt>
                <c:pt idx="194">
                  <c:v>1501</c:v>
                </c:pt>
                <c:pt idx="195">
                  <c:v>2155</c:v>
                </c:pt>
                <c:pt idx="196">
                  <c:v>1094</c:v>
                </c:pt>
                <c:pt idx="197">
                  <c:v>801</c:v>
                </c:pt>
                <c:pt idx="198">
                  <c:v>1894</c:v>
                </c:pt>
                <c:pt idx="199">
                  <c:v>3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0A-4733-AA2C-6A31356AE6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1883</c:v>
                </c:pt>
                <c:pt idx="196">
                  <c:v>1888</c:v>
                </c:pt>
                <c:pt idx="197">
                  <c:v>1940</c:v>
                </c:pt>
                <c:pt idx="198">
                  <c:v>2022</c:v>
                </c:pt>
                <c:pt idx="199">
                  <c:v>2073</c:v>
                </c:pt>
                <c:pt idx="200">
                  <c:v>2105</c:v>
                </c:pt>
                <c:pt idx="201">
                  <c:v>2126</c:v>
                </c:pt>
                <c:pt idx="202">
                  <c:v>2141</c:v>
                </c:pt>
                <c:pt idx="203">
                  <c:v>2192</c:v>
                </c:pt>
                <c:pt idx="204">
                  <c:v>2250</c:v>
                </c:pt>
                <c:pt idx="205">
                  <c:v>2300</c:v>
                </c:pt>
                <c:pt idx="206">
                  <c:v>2333</c:v>
                </c:pt>
                <c:pt idx="207">
                  <c:v>2365</c:v>
                </c:pt>
                <c:pt idx="208">
                  <c:v>2405</c:v>
                </c:pt>
                <c:pt idx="209">
                  <c:v>2453</c:v>
                </c:pt>
                <c:pt idx="210">
                  <c:v>2505</c:v>
                </c:pt>
                <c:pt idx="211">
                  <c:v>2553</c:v>
                </c:pt>
                <c:pt idx="212">
                  <c:v>2596</c:v>
                </c:pt>
                <c:pt idx="213">
                  <c:v>2637</c:v>
                </c:pt>
                <c:pt idx="214">
                  <c:v>2685</c:v>
                </c:pt>
                <c:pt idx="215">
                  <c:v>2737</c:v>
                </c:pt>
                <c:pt idx="216">
                  <c:v>2789</c:v>
                </c:pt>
                <c:pt idx="217">
                  <c:v>2840</c:v>
                </c:pt>
                <c:pt idx="218">
                  <c:v>2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0A-4733-AA2C-6A31356AE6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1951</c:v>
                </c:pt>
                <c:pt idx="196">
                  <c:v>2000</c:v>
                </c:pt>
                <c:pt idx="197">
                  <c:v>2081</c:v>
                </c:pt>
                <c:pt idx="198">
                  <c:v>2186</c:v>
                </c:pt>
                <c:pt idx="199">
                  <c:v>2269</c:v>
                </c:pt>
                <c:pt idx="200">
                  <c:v>2342</c:v>
                </c:pt>
                <c:pt idx="201">
                  <c:v>2411</c:v>
                </c:pt>
                <c:pt idx="202">
                  <c:v>2478</c:v>
                </c:pt>
                <c:pt idx="203">
                  <c:v>2572</c:v>
                </c:pt>
                <c:pt idx="204">
                  <c:v>2674</c:v>
                </c:pt>
                <c:pt idx="205">
                  <c:v>2773</c:v>
                </c:pt>
                <c:pt idx="206">
                  <c:v>2860</c:v>
                </c:pt>
                <c:pt idx="207">
                  <c:v>2951</c:v>
                </c:pt>
                <c:pt idx="208">
                  <c:v>3051</c:v>
                </c:pt>
                <c:pt idx="209">
                  <c:v>3159</c:v>
                </c:pt>
                <c:pt idx="210">
                  <c:v>3274</c:v>
                </c:pt>
                <c:pt idx="211">
                  <c:v>3387</c:v>
                </c:pt>
                <c:pt idx="212">
                  <c:v>3500</c:v>
                </c:pt>
                <c:pt idx="213">
                  <c:v>3616</c:v>
                </c:pt>
                <c:pt idx="214">
                  <c:v>3740</c:v>
                </c:pt>
                <c:pt idx="215">
                  <c:v>3871</c:v>
                </c:pt>
                <c:pt idx="216">
                  <c:v>4006</c:v>
                </c:pt>
                <c:pt idx="217">
                  <c:v>4143</c:v>
                </c:pt>
                <c:pt idx="218">
                  <c:v>4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0A-4733-AA2C-6A31356AE69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2019</c:v>
                </c:pt>
                <c:pt idx="196">
                  <c:v>2111</c:v>
                </c:pt>
                <c:pt idx="197">
                  <c:v>2223</c:v>
                </c:pt>
                <c:pt idx="198">
                  <c:v>2349</c:v>
                </c:pt>
                <c:pt idx="199">
                  <c:v>2469</c:v>
                </c:pt>
                <c:pt idx="200">
                  <c:v>2589</c:v>
                </c:pt>
                <c:pt idx="201">
                  <c:v>2712</c:v>
                </c:pt>
                <c:pt idx="202">
                  <c:v>2839</c:v>
                </c:pt>
                <c:pt idx="203">
                  <c:v>2985</c:v>
                </c:pt>
                <c:pt idx="204">
                  <c:v>3140</c:v>
                </c:pt>
                <c:pt idx="205">
                  <c:v>3299</c:v>
                </c:pt>
                <c:pt idx="206">
                  <c:v>3458</c:v>
                </c:pt>
                <c:pt idx="207">
                  <c:v>3625</c:v>
                </c:pt>
                <c:pt idx="208">
                  <c:v>3804</c:v>
                </c:pt>
                <c:pt idx="209">
                  <c:v>3995</c:v>
                </c:pt>
                <c:pt idx="210">
                  <c:v>4196</c:v>
                </c:pt>
                <c:pt idx="211">
                  <c:v>4404</c:v>
                </c:pt>
                <c:pt idx="212">
                  <c:v>4620</c:v>
                </c:pt>
                <c:pt idx="213">
                  <c:v>4847</c:v>
                </c:pt>
                <c:pt idx="214">
                  <c:v>5087</c:v>
                </c:pt>
                <c:pt idx="215">
                  <c:v>5340</c:v>
                </c:pt>
                <c:pt idx="216">
                  <c:v>5605</c:v>
                </c:pt>
                <c:pt idx="217">
                  <c:v>5882</c:v>
                </c:pt>
                <c:pt idx="218">
                  <c:v>6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0A-4733-AA2C-6A31356AE69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2087</c:v>
                </c:pt>
                <c:pt idx="196">
                  <c:v>2223</c:v>
                </c:pt>
                <c:pt idx="197">
                  <c:v>2364</c:v>
                </c:pt>
                <c:pt idx="198">
                  <c:v>2512</c:v>
                </c:pt>
                <c:pt idx="199">
                  <c:v>2673</c:v>
                </c:pt>
                <c:pt idx="200">
                  <c:v>2845</c:v>
                </c:pt>
                <c:pt idx="201">
                  <c:v>3029</c:v>
                </c:pt>
                <c:pt idx="202">
                  <c:v>3224</c:v>
                </c:pt>
                <c:pt idx="203">
                  <c:v>3429</c:v>
                </c:pt>
                <c:pt idx="204">
                  <c:v>3647</c:v>
                </c:pt>
                <c:pt idx="205">
                  <c:v>3880</c:v>
                </c:pt>
                <c:pt idx="206">
                  <c:v>4129</c:v>
                </c:pt>
                <c:pt idx="207">
                  <c:v>4394</c:v>
                </c:pt>
                <c:pt idx="208">
                  <c:v>4675</c:v>
                </c:pt>
                <c:pt idx="209">
                  <c:v>4973</c:v>
                </c:pt>
                <c:pt idx="210">
                  <c:v>5290</c:v>
                </c:pt>
                <c:pt idx="211">
                  <c:v>5628</c:v>
                </c:pt>
                <c:pt idx="212">
                  <c:v>5987</c:v>
                </c:pt>
                <c:pt idx="213">
                  <c:v>6370</c:v>
                </c:pt>
                <c:pt idx="214">
                  <c:v>6776</c:v>
                </c:pt>
                <c:pt idx="215">
                  <c:v>7208</c:v>
                </c:pt>
                <c:pt idx="216">
                  <c:v>7667</c:v>
                </c:pt>
                <c:pt idx="217">
                  <c:v>8156</c:v>
                </c:pt>
                <c:pt idx="218">
                  <c:v>86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B-46F6-8F80-3F1CAA38401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4.595780066877097</c:v>
                </c:pt>
                <c:pt idx="1">
                  <c:v>23.089915981149929</c:v>
                </c:pt>
                <c:pt idx="2">
                  <c:v>20.245506041443054</c:v>
                </c:pt>
                <c:pt idx="3">
                  <c:v>20.663801620811711</c:v>
                </c:pt>
                <c:pt idx="4">
                  <c:v>19.827210462074394</c:v>
                </c:pt>
                <c:pt idx="5">
                  <c:v>19.492573998579466</c:v>
                </c:pt>
                <c:pt idx="6">
                  <c:v>16.648164058872592</c:v>
                </c:pt>
                <c:pt idx="7">
                  <c:v>16.229868479503935</c:v>
                </c:pt>
                <c:pt idx="8">
                  <c:v>14.138390582660646</c:v>
                </c:pt>
                <c:pt idx="9">
                  <c:v>13.134481192175866</c:v>
                </c:pt>
                <c:pt idx="10">
                  <c:v>11.795935338196159</c:v>
                </c:pt>
                <c:pt idx="11">
                  <c:v>11.377639758827501</c:v>
                </c:pt>
                <c:pt idx="12">
                  <c:v>11.461298874701232</c:v>
                </c:pt>
                <c:pt idx="13">
                  <c:v>10.373730368342722</c:v>
                </c:pt>
                <c:pt idx="14">
                  <c:v>8.3659115873731622</c:v>
                </c:pt>
                <c:pt idx="15">
                  <c:v>7.9476160080045037</c:v>
                </c:pt>
                <c:pt idx="16">
                  <c:v>6.7763883857722611</c:v>
                </c:pt>
                <c:pt idx="17">
                  <c:v>6.7763883857722611</c:v>
                </c:pt>
                <c:pt idx="18">
                  <c:v>5.7724789952874822</c:v>
                </c:pt>
                <c:pt idx="19">
                  <c:v>5.6888198794137503</c:v>
                </c:pt>
                <c:pt idx="20">
                  <c:v>5.5215016476662875</c:v>
                </c:pt>
                <c:pt idx="21">
                  <c:v>5.5215016476662875</c:v>
                </c:pt>
                <c:pt idx="22">
                  <c:v>5.019546952423898</c:v>
                </c:pt>
                <c:pt idx="23">
                  <c:v>5.1868651841713609</c:v>
                </c:pt>
                <c:pt idx="24">
                  <c:v>4.4339331413077758</c:v>
                </c:pt>
                <c:pt idx="25">
                  <c:v>4.7685696048027024</c:v>
                </c:pt>
                <c:pt idx="26">
                  <c:v>4.8522287206764343</c:v>
                </c:pt>
                <c:pt idx="27">
                  <c:v>5.1868651841713609</c:v>
                </c:pt>
                <c:pt idx="28">
                  <c:v>5.103206068297629</c:v>
                </c:pt>
                <c:pt idx="29">
                  <c:v>4.7685696048027024</c:v>
                </c:pt>
                <c:pt idx="30">
                  <c:v>4.8522287206764343</c:v>
                </c:pt>
                <c:pt idx="31">
                  <c:v>4.6012513730552396</c:v>
                </c:pt>
                <c:pt idx="32">
                  <c:v>5.1868651841713609</c:v>
                </c:pt>
                <c:pt idx="33">
                  <c:v>5.019546952423898</c:v>
                </c:pt>
                <c:pt idx="34">
                  <c:v>4.266614909560313</c:v>
                </c:pt>
                <c:pt idx="35">
                  <c:v>3.5973419825704598</c:v>
                </c:pt>
                <c:pt idx="36">
                  <c:v>4.266614909560313</c:v>
                </c:pt>
                <c:pt idx="37">
                  <c:v>4.350274025434044</c:v>
                </c:pt>
                <c:pt idx="38">
                  <c:v>5.1868651841713609</c:v>
                </c:pt>
                <c:pt idx="39">
                  <c:v>4.6849104889289706</c:v>
                </c:pt>
                <c:pt idx="40">
                  <c:v>4.5175922571815077</c:v>
                </c:pt>
                <c:pt idx="41">
                  <c:v>5.1868651841713609</c:v>
                </c:pt>
                <c:pt idx="42">
                  <c:v>5.6888198794137503</c:v>
                </c:pt>
                <c:pt idx="43">
                  <c:v>6.2744336905298708</c:v>
                </c:pt>
                <c:pt idx="44">
                  <c:v>6.5254110381510664</c:v>
                </c:pt>
                <c:pt idx="45">
                  <c:v>6.1071154587824079</c:v>
                </c:pt>
                <c:pt idx="46">
                  <c:v>6.2744336905298708</c:v>
                </c:pt>
                <c:pt idx="47">
                  <c:v>6.2744336905298708</c:v>
                </c:pt>
                <c:pt idx="48">
                  <c:v>6.4417519222773354</c:v>
                </c:pt>
                <c:pt idx="49">
                  <c:v>6.8600475016459939</c:v>
                </c:pt>
                <c:pt idx="50">
                  <c:v>6.3580928064036035</c:v>
                </c:pt>
                <c:pt idx="51">
                  <c:v>6.7763883857722611</c:v>
                </c:pt>
                <c:pt idx="52">
                  <c:v>6.6090701540247982</c:v>
                </c:pt>
                <c:pt idx="53">
                  <c:v>7.2783430810146506</c:v>
                </c:pt>
                <c:pt idx="54">
                  <c:v>7.8639568921307736</c:v>
                </c:pt>
                <c:pt idx="55">
                  <c:v>8.0312751238782365</c:v>
                </c:pt>
                <c:pt idx="56">
                  <c:v>8.449570703246895</c:v>
                </c:pt>
                <c:pt idx="57">
                  <c:v>8.449570703246895</c:v>
                </c:pt>
                <c:pt idx="58">
                  <c:v>7.9476160080045037</c:v>
                </c:pt>
                <c:pt idx="59">
                  <c:v>8.3659115873731622</c:v>
                </c:pt>
                <c:pt idx="60">
                  <c:v>7.612979544509578</c:v>
                </c:pt>
                <c:pt idx="61">
                  <c:v>7.1946839651409196</c:v>
                </c:pt>
                <c:pt idx="62">
                  <c:v>6.9437066175197248</c:v>
                </c:pt>
                <c:pt idx="63">
                  <c:v>7.1946839651409196</c:v>
                </c:pt>
                <c:pt idx="64">
                  <c:v>8.3659115873731622</c:v>
                </c:pt>
                <c:pt idx="65">
                  <c:v>9.0351845143630154</c:v>
                </c:pt>
                <c:pt idx="66">
                  <c:v>9.2861618619842101</c:v>
                </c:pt>
                <c:pt idx="67">
                  <c:v>9.5371392096054048</c:v>
                </c:pt>
                <c:pt idx="68">
                  <c:v>9.7044574413528686</c:v>
                </c:pt>
                <c:pt idx="69">
                  <c:v>10.122753020721527</c:v>
                </c:pt>
                <c:pt idx="70">
                  <c:v>9.2861618619842101</c:v>
                </c:pt>
                <c:pt idx="71">
                  <c:v>9.2025027461104791</c:v>
                </c:pt>
                <c:pt idx="72">
                  <c:v>8.6168889349943569</c:v>
                </c:pt>
                <c:pt idx="73">
                  <c:v>8.8678662826155517</c:v>
                </c:pt>
                <c:pt idx="74">
                  <c:v>9.2025027461104791</c:v>
                </c:pt>
                <c:pt idx="75">
                  <c:v>8.7842071667418207</c:v>
                </c:pt>
                <c:pt idx="76">
                  <c:v>8.7842071667418207</c:v>
                </c:pt>
                <c:pt idx="77">
                  <c:v>9.9554347889740633</c:v>
                </c:pt>
                <c:pt idx="78">
                  <c:v>9.2025027461104791</c:v>
                </c:pt>
                <c:pt idx="79">
                  <c:v>9.0351845143630154</c:v>
                </c:pt>
                <c:pt idx="80">
                  <c:v>8.5332298191206259</c:v>
                </c:pt>
                <c:pt idx="81">
                  <c:v>8.0312751238782365</c:v>
                </c:pt>
                <c:pt idx="82">
                  <c:v>8.6168889349943569</c:v>
                </c:pt>
                <c:pt idx="83">
                  <c:v>9.7881165572265996</c:v>
                </c:pt>
                <c:pt idx="84">
                  <c:v>9.7881165572265996</c:v>
                </c:pt>
                <c:pt idx="85">
                  <c:v>10.290071252468989</c:v>
                </c:pt>
                <c:pt idx="86">
                  <c:v>11.544957990574964</c:v>
                </c:pt>
                <c:pt idx="87">
                  <c:v>11.795935338196159</c:v>
                </c:pt>
                <c:pt idx="88">
                  <c:v>12.046912685817354</c:v>
                </c:pt>
                <c:pt idx="89">
                  <c:v>11.628617106448695</c:v>
                </c:pt>
                <c:pt idx="90">
                  <c:v>10.373730368342722</c:v>
                </c:pt>
                <c:pt idx="91">
                  <c:v>10.373730368342722</c:v>
                </c:pt>
                <c:pt idx="92">
                  <c:v>11.87959445406989</c:v>
                </c:pt>
                <c:pt idx="93">
                  <c:v>12.381549149312281</c:v>
                </c:pt>
                <c:pt idx="94">
                  <c:v>13.720095003291988</c:v>
                </c:pt>
                <c:pt idx="95">
                  <c:v>15.142299973145423</c:v>
                </c:pt>
                <c:pt idx="96">
                  <c:v>16.648164058872592</c:v>
                </c:pt>
                <c:pt idx="97">
                  <c:v>19.743551346200661</c:v>
                </c:pt>
                <c:pt idx="98">
                  <c:v>21.500392779549028</c:v>
                </c:pt>
                <c:pt idx="99">
                  <c:v>20.663801620811711</c:v>
                </c:pt>
                <c:pt idx="100">
                  <c:v>21.918688358917684</c:v>
                </c:pt>
                <c:pt idx="101">
                  <c:v>23.257234212897391</c:v>
                </c:pt>
                <c:pt idx="102">
                  <c:v>22.922597749402463</c:v>
                </c:pt>
                <c:pt idx="103">
                  <c:v>22.253324822412612</c:v>
                </c:pt>
                <c:pt idx="104">
                  <c:v>22.169665706538879</c:v>
                </c:pt>
                <c:pt idx="105">
                  <c:v>22.922597749402463</c:v>
                </c:pt>
                <c:pt idx="106">
                  <c:v>24.930416530372025</c:v>
                </c:pt>
                <c:pt idx="107">
                  <c:v>26.436280616099193</c:v>
                </c:pt>
                <c:pt idx="108">
                  <c:v>26.770917079594117</c:v>
                </c:pt>
                <c:pt idx="109">
                  <c:v>27.523849122457705</c:v>
                </c:pt>
                <c:pt idx="110">
                  <c:v>27.774826470078899</c:v>
                </c:pt>
                <c:pt idx="111">
                  <c:v>27.105553543089044</c:v>
                </c:pt>
                <c:pt idx="112">
                  <c:v>26.519939731972922</c:v>
                </c:pt>
                <c:pt idx="113">
                  <c:v>25.767007689109342</c:v>
                </c:pt>
                <c:pt idx="114">
                  <c:v>24.763098298624563</c:v>
                </c:pt>
                <c:pt idx="115">
                  <c:v>25.683348573235605</c:v>
                </c:pt>
                <c:pt idx="116">
                  <c:v>27.021894427215315</c:v>
                </c:pt>
                <c:pt idx="117">
                  <c:v>28.444099397068751</c:v>
                </c:pt>
                <c:pt idx="118">
                  <c:v>32.794373422502794</c:v>
                </c:pt>
                <c:pt idx="119">
                  <c:v>32.87803253837653</c:v>
                </c:pt>
                <c:pt idx="120">
                  <c:v>39.152466228906398</c:v>
                </c:pt>
                <c:pt idx="121">
                  <c:v>45.845195498804927</c:v>
                </c:pt>
                <c:pt idx="122">
                  <c:v>46.765445773415976</c:v>
                </c:pt>
                <c:pt idx="123">
                  <c:v>49.191560133754194</c:v>
                </c:pt>
                <c:pt idx="124">
                  <c:v>49.526196597249125</c:v>
                </c:pt>
                <c:pt idx="125">
                  <c:v>50.613765103607633</c:v>
                </c:pt>
                <c:pt idx="126">
                  <c:v>56.720880562390043</c:v>
                </c:pt>
                <c:pt idx="127">
                  <c:v>57.47381260525362</c:v>
                </c:pt>
                <c:pt idx="128">
                  <c:v>55.215016476662868</c:v>
                </c:pt>
                <c:pt idx="129">
                  <c:v>60.903836356076624</c:v>
                </c:pt>
                <c:pt idx="130">
                  <c:v>59.73260873384438</c:v>
                </c:pt>
                <c:pt idx="131">
                  <c:v>60.150904313213033</c:v>
                </c:pt>
                <c:pt idx="132">
                  <c:v>66.258019771995436</c:v>
                </c:pt>
                <c:pt idx="133">
                  <c:v>69.437066175197245</c:v>
                </c:pt>
                <c:pt idx="134">
                  <c:v>71.612203187914275</c:v>
                </c:pt>
                <c:pt idx="135">
                  <c:v>80.312751238782369</c:v>
                </c:pt>
                <c:pt idx="136">
                  <c:v>82.906183830868031</c:v>
                </c:pt>
                <c:pt idx="137">
                  <c:v>89.68257221664031</c:v>
                </c:pt>
                <c:pt idx="138">
                  <c:v>96.291642370665102</c:v>
                </c:pt>
                <c:pt idx="139">
                  <c:v>108.33855505648245</c:v>
                </c:pt>
                <c:pt idx="140">
                  <c:v>124.48476442011265</c:v>
                </c:pt>
                <c:pt idx="141">
                  <c:v>145.98515719966167</c:v>
                </c:pt>
                <c:pt idx="142">
                  <c:v>166.98359528396833</c:v>
                </c:pt>
                <c:pt idx="143">
                  <c:v>203.45896980491531</c:v>
                </c:pt>
                <c:pt idx="144">
                  <c:v>219.1032244733031</c:v>
                </c:pt>
                <c:pt idx="145">
                  <c:v>232.82331947659512</c:v>
                </c:pt>
                <c:pt idx="146">
                  <c:v>263.1915785387597</c:v>
                </c:pt>
                <c:pt idx="147">
                  <c:v>301.17281714543384</c:v>
                </c:pt>
                <c:pt idx="148">
                  <c:v>337.14623697113842</c:v>
                </c:pt>
                <c:pt idx="149">
                  <c:v>346.76703529661756</c:v>
                </c:pt>
                <c:pt idx="150">
                  <c:v>373.45429326033798</c:v>
                </c:pt>
                <c:pt idx="151">
                  <c:v>409.76234954953748</c:v>
                </c:pt>
                <c:pt idx="152">
                  <c:v>421.39096665598623</c:v>
                </c:pt>
                <c:pt idx="153">
                  <c:v>472.42302733896247</c:v>
                </c:pt>
                <c:pt idx="154">
                  <c:v>530.73343110295343</c:v>
                </c:pt>
                <c:pt idx="155">
                  <c:v>573.56689843030404</c:v>
                </c:pt>
                <c:pt idx="156">
                  <c:v>618.49184365449787</c:v>
                </c:pt>
                <c:pt idx="157">
                  <c:v>659.06651485325779</c:v>
                </c:pt>
                <c:pt idx="158">
                  <c:v>651.36987619287436</c:v>
                </c:pt>
                <c:pt idx="159">
                  <c:v>654.54892259607618</c:v>
                </c:pt>
                <c:pt idx="160">
                  <c:v>675.71467891213035</c:v>
                </c:pt>
                <c:pt idx="161">
                  <c:v>723.98598877127347</c:v>
                </c:pt>
                <c:pt idx="162">
                  <c:v>782.79834723050681</c:v>
                </c:pt>
                <c:pt idx="163">
                  <c:v>815.25808418951465</c:v>
                </c:pt>
                <c:pt idx="164">
                  <c:v>877.24948905194969</c:v>
                </c:pt>
                <c:pt idx="165">
                  <c:v>912.46997683479083</c:v>
                </c:pt>
                <c:pt idx="166">
                  <c:v>940.83041711598582</c:v>
                </c:pt>
                <c:pt idx="167">
                  <c:v>969.27451651305455</c:v>
                </c:pt>
                <c:pt idx="168">
                  <c:v>1080.2065041616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0B-46F6-8F80-3F1CAA3840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828.64354272931178</c:v>
                </c:pt>
                <c:pt idx="165" formatCode="0">
                  <c:v>855.41445980890592</c:v>
                </c:pt>
                <c:pt idx="166" formatCode="0">
                  <c:v>879.5082851805405</c:v>
                </c:pt>
                <c:pt idx="167" formatCode="0">
                  <c:v>902.59820116169055</c:v>
                </c:pt>
                <c:pt idx="168" formatCode="0">
                  <c:v>922.09077516026991</c:v>
                </c:pt>
                <c:pt idx="169" formatCode="0">
                  <c:v>936.31282485880422</c:v>
                </c:pt>
                <c:pt idx="170" formatCode="0">
                  <c:v>944.17678175093499</c:v>
                </c:pt>
                <c:pt idx="171" formatCode="0">
                  <c:v>957.89687675422715</c:v>
                </c:pt>
                <c:pt idx="172" formatCode="0">
                  <c:v>978.22604191154392</c:v>
                </c:pt>
                <c:pt idx="173" formatCode="0">
                  <c:v>998.97350264822933</c:v>
                </c:pt>
                <c:pt idx="174" formatCode="0">
                  <c:v>1017.5458263721977</c:v>
                </c:pt>
                <c:pt idx="175" formatCode="0">
                  <c:v>1034.9469224739339</c:v>
                </c:pt>
                <c:pt idx="176" formatCode="0">
                  <c:v>1052.3480185756703</c:v>
                </c:pt>
                <c:pt idx="177" formatCode="0">
                  <c:v>1071.0040014155122</c:v>
                </c:pt>
                <c:pt idx="178" formatCode="0">
                  <c:v>1091.8351212680716</c:v>
                </c:pt>
                <c:pt idx="179" formatCode="0">
                  <c:v>1112.833559352378</c:v>
                </c:pt>
                <c:pt idx="180" formatCode="0">
                  <c:v>1133.0790653938211</c:v>
                </c:pt>
                <c:pt idx="181" formatCode="0">
                  <c:v>1152.9062758558955</c:v>
                </c:pt>
                <c:pt idx="182" formatCode="0">
                  <c:v>1173.3191001290861</c:v>
                </c:pt>
                <c:pt idx="183" formatCode="0">
                  <c:v>1194.7358337927612</c:v>
                </c:pt>
                <c:pt idx="184" formatCode="0">
                  <c:v>1216.9891586151739</c:v>
                </c:pt>
                <c:pt idx="185" formatCode="0">
                  <c:v>1239.5771199010815</c:v>
                </c:pt>
                <c:pt idx="186" formatCode="0">
                  <c:v>1261.9977629552416</c:v>
                </c:pt>
                <c:pt idx="187" formatCode="0">
                  <c:v>1284.5857242411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C0B-46F6-8F80-3F1CAA38401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833.32845321824072</c:v>
                </c:pt>
                <c:pt idx="165" formatCode="0">
                  <c:v>867.54503161059688</c:v>
                </c:pt>
                <c:pt idx="166" formatCode="0">
                  <c:v>901.09233707596331</c:v>
                </c:pt>
                <c:pt idx="167" formatCode="0">
                  <c:v>935.0579381206984</c:v>
                </c:pt>
                <c:pt idx="168" formatCode="0">
                  <c:v>967.6849933114537</c:v>
                </c:pt>
                <c:pt idx="169" formatCode="0">
                  <c:v>997.80227502599701</c:v>
                </c:pt>
                <c:pt idx="170" formatCode="0">
                  <c:v>1024.7405103373387</c:v>
                </c:pt>
                <c:pt idx="171" formatCode="0">
                  <c:v>1056.3636561376093</c:v>
                </c:pt>
                <c:pt idx="172" formatCode="0">
                  <c:v>1094.763190323652</c:v>
                </c:pt>
                <c:pt idx="173" formatCode="0">
                  <c:v>1134.5012703636746</c:v>
                </c:pt>
                <c:pt idx="174" formatCode="0">
                  <c:v>1173.8210548243285</c:v>
                </c:pt>
                <c:pt idx="175" formatCode="0">
                  <c:v>1213.4754757484773</c:v>
                </c:pt>
                <c:pt idx="176" formatCode="0">
                  <c:v>1254.2174651789846</c:v>
                </c:pt>
                <c:pt idx="177" formatCode="0">
                  <c:v>1297.0509325063351</c:v>
                </c:pt>
                <c:pt idx="178" formatCode="0">
                  <c:v>1342.6451506575188</c:v>
                </c:pt>
                <c:pt idx="179" formatCode="0">
                  <c:v>1389.661573778556</c:v>
                </c:pt>
                <c:pt idx="180" formatCode="0">
                  <c:v>1437.4309289424568</c:v>
                </c:pt>
                <c:pt idx="181" formatCode="0">
                  <c:v>1486.2041934968424</c:v>
                </c:pt>
                <c:pt idx="182" formatCode="0">
                  <c:v>1536.8179586004499</c:v>
                </c:pt>
                <c:pt idx="183" formatCode="0">
                  <c:v>1589.6905198326483</c:v>
                </c:pt>
                <c:pt idx="184" formatCode="0">
                  <c:v>1644.6545589616901</c:v>
                </c:pt>
                <c:pt idx="185" formatCode="0">
                  <c:v>1701.3754395240801</c:v>
                </c:pt>
                <c:pt idx="186" formatCode="0">
                  <c:v>1759.6021841721972</c:v>
                </c:pt>
                <c:pt idx="187" formatCode="0">
                  <c:v>1819.585770253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C0B-46F6-8F80-3F1CAA38401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838.01336370716967</c:v>
                </c:pt>
                <c:pt idx="165" formatCode="0">
                  <c:v>879.7592625281618</c:v>
                </c:pt>
                <c:pt idx="166" formatCode="0">
                  <c:v>922.76004808725975</c:v>
                </c:pt>
                <c:pt idx="167" formatCode="0">
                  <c:v>967.6849933114537</c:v>
                </c:pt>
                <c:pt idx="168" formatCode="0">
                  <c:v>1013.6975070420061</c:v>
                </c:pt>
                <c:pt idx="169" formatCode="0">
                  <c:v>1060.3792936995483</c:v>
                </c:pt>
                <c:pt idx="170" formatCode="0">
                  <c:v>1107.4793759364591</c:v>
                </c:pt>
                <c:pt idx="171" formatCode="0">
                  <c:v>1158.5950957353093</c:v>
                </c:pt>
                <c:pt idx="172" formatCode="0">
                  <c:v>1217.0728177310475</c:v>
                </c:pt>
                <c:pt idx="173" formatCode="0">
                  <c:v>1278.5622678982404</c:v>
                </c:pt>
                <c:pt idx="174" formatCode="0">
                  <c:v>1342.22685507815</c:v>
                </c:pt>
                <c:pt idx="175" formatCode="0">
                  <c:v>1408.4848748501456</c:v>
                </c:pt>
                <c:pt idx="176" formatCode="0">
                  <c:v>1477.8382819094691</c:v>
                </c:pt>
                <c:pt idx="177" formatCode="0">
                  <c:v>1551.0400082989843</c:v>
                </c:pt>
                <c:pt idx="178" formatCode="0">
                  <c:v>1628.4246904821862</c:v>
                </c:pt>
                <c:pt idx="179" formatCode="0">
                  <c:v>1709.6576919955794</c:v>
                </c:pt>
                <c:pt idx="180" formatCode="0">
                  <c:v>1794.3207172597959</c:v>
                </c:pt>
                <c:pt idx="181" formatCode="0">
                  <c:v>1882.8320618542039</c:v>
                </c:pt>
                <c:pt idx="182" formatCode="0">
                  <c:v>1975.9446578216673</c:v>
                </c:pt>
                <c:pt idx="183" formatCode="0">
                  <c:v>2073.9094825098068</c:v>
                </c:pt>
                <c:pt idx="184" formatCode="0">
                  <c:v>2176.7265359186231</c:v>
                </c:pt>
                <c:pt idx="185" formatCode="0">
                  <c:v>2284.6467953957372</c:v>
                </c:pt>
                <c:pt idx="186" formatCode="0">
                  <c:v>2397.5029427094009</c:v>
                </c:pt>
                <c:pt idx="187" formatCode="0">
                  <c:v>2515.8805916707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0B-46F6-8F80-3F1CAA38401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842.69827419609874</c:v>
                </c:pt>
                <c:pt idx="165" formatCode="0">
                  <c:v>891.88983432985287</c:v>
                </c:pt>
                <c:pt idx="166" formatCode="0">
                  <c:v>944.34409998268268</c:v>
                </c:pt>
                <c:pt idx="167" formatCode="0">
                  <c:v>1000.2283893863353</c:v>
                </c:pt>
                <c:pt idx="168" formatCode="0">
                  <c:v>1059.8773390043059</c:v>
                </c:pt>
                <c:pt idx="169" formatCode="0">
                  <c:v>1123.6255853000894</c:v>
                </c:pt>
                <c:pt idx="170" formatCode="0">
                  <c:v>1191.8914238530544</c:v>
                </c:pt>
                <c:pt idx="171" formatCode="0">
                  <c:v>1264.0892408520849</c:v>
                </c:pt>
                <c:pt idx="172" formatCode="0">
                  <c:v>1344.9876059019834</c:v>
                </c:pt>
                <c:pt idx="173" formatCode="0">
                  <c:v>1430.9891770201796</c:v>
                </c:pt>
                <c:pt idx="174" formatCode="0">
                  <c:v>1522.5959089019157</c:v>
                </c:pt>
                <c:pt idx="175" formatCode="0">
                  <c:v>1620.2260971265603</c:v>
                </c:pt>
                <c:pt idx="176" formatCode="0">
                  <c:v>1724.0470599258613</c:v>
                </c:pt>
                <c:pt idx="177" formatCode="0">
                  <c:v>1834.3934337633132</c:v>
                </c:pt>
                <c:pt idx="178" formatCode="0">
                  <c:v>1951.5998551024111</c:v>
                </c:pt>
                <c:pt idx="179" formatCode="0">
                  <c:v>2076.1682786383976</c:v>
                </c:pt>
                <c:pt idx="180" formatCode="0">
                  <c:v>2208.851636414136</c:v>
                </c:pt>
                <c:pt idx="181" formatCode="0">
                  <c:v>2350.068224008995</c:v>
                </c:pt>
                <c:pt idx="182" formatCode="0">
                  <c:v>2500.1526778864695</c:v>
                </c:pt>
                <c:pt idx="183" formatCode="0">
                  <c:v>2659.7742709735498</c:v>
                </c:pt>
                <c:pt idx="184" formatCode="0">
                  <c:v>2829.4349579654772</c:v>
                </c:pt>
                <c:pt idx="185" formatCode="0">
                  <c:v>3009.8876709051165</c:v>
                </c:pt>
                <c:pt idx="186" formatCode="0">
                  <c:v>3201.9690009512042</c:v>
                </c:pt>
                <c:pt idx="187" formatCode="0">
                  <c:v>3406.180902798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31</c:v>
                </c:pt>
                <c:pt idx="1">
                  <c:v>40</c:v>
                </c:pt>
                <c:pt idx="2">
                  <c:v>180</c:v>
                </c:pt>
                <c:pt idx="3">
                  <c:v>118</c:v>
                </c:pt>
                <c:pt idx="4">
                  <c:v>117</c:v>
                </c:pt>
                <c:pt idx="5">
                  <c:v>74</c:v>
                </c:pt>
                <c:pt idx="6">
                  <c:v>72</c:v>
                </c:pt>
                <c:pt idx="7">
                  <c:v>6</c:v>
                </c:pt>
                <c:pt idx="8">
                  <c:v>29</c:v>
                </c:pt>
                <c:pt idx="9">
                  <c:v>139</c:v>
                </c:pt>
                <c:pt idx="10">
                  <c:v>96</c:v>
                </c:pt>
                <c:pt idx="11">
                  <c:v>94</c:v>
                </c:pt>
                <c:pt idx="12">
                  <c:v>64</c:v>
                </c:pt>
                <c:pt idx="13">
                  <c:v>60</c:v>
                </c:pt>
                <c:pt idx="14">
                  <c:v>19</c:v>
                </c:pt>
                <c:pt idx="15">
                  <c:v>21</c:v>
                </c:pt>
                <c:pt idx="16">
                  <c:v>103</c:v>
                </c:pt>
                <c:pt idx="17">
                  <c:v>90</c:v>
                </c:pt>
                <c:pt idx="18">
                  <c:v>82</c:v>
                </c:pt>
                <c:pt idx="19">
                  <c:v>55</c:v>
                </c:pt>
                <c:pt idx="20">
                  <c:v>47</c:v>
                </c:pt>
                <c:pt idx="21">
                  <c:v>13</c:v>
                </c:pt>
                <c:pt idx="22">
                  <c:v>29</c:v>
                </c:pt>
                <c:pt idx="23">
                  <c:v>59</c:v>
                </c:pt>
                <c:pt idx="24">
                  <c:v>60</c:v>
                </c:pt>
                <c:pt idx="25">
                  <c:v>62</c:v>
                </c:pt>
                <c:pt idx="26">
                  <c:v>36</c:v>
                </c:pt>
                <c:pt idx="27">
                  <c:v>22</c:v>
                </c:pt>
                <c:pt idx="28">
                  <c:v>21</c:v>
                </c:pt>
                <c:pt idx="29">
                  <c:v>12</c:v>
                </c:pt>
                <c:pt idx="30">
                  <c:v>39</c:v>
                </c:pt>
                <c:pt idx="31">
                  <c:v>25</c:v>
                </c:pt>
                <c:pt idx="32">
                  <c:v>17</c:v>
                </c:pt>
                <c:pt idx="33">
                  <c:v>20</c:v>
                </c:pt>
                <c:pt idx="34">
                  <c:v>13</c:v>
                </c:pt>
                <c:pt idx="35">
                  <c:v>10</c:v>
                </c:pt>
                <c:pt idx="36">
                  <c:v>6</c:v>
                </c:pt>
                <c:pt idx="37">
                  <c:v>16</c:v>
                </c:pt>
                <c:pt idx="38">
                  <c:v>21</c:v>
                </c:pt>
                <c:pt idx="39">
                  <c:v>14</c:v>
                </c:pt>
                <c:pt idx="40">
                  <c:v>8</c:v>
                </c:pt>
                <c:pt idx="41">
                  <c:v>12</c:v>
                </c:pt>
                <c:pt idx="42">
                  <c:v>2</c:v>
                </c:pt>
                <c:pt idx="43">
                  <c:v>6</c:v>
                </c:pt>
                <c:pt idx="44">
                  <c:v>9</c:v>
                </c:pt>
                <c:pt idx="45">
                  <c:v>7</c:v>
                </c:pt>
                <c:pt idx="46">
                  <c:v>4</c:v>
                </c:pt>
                <c:pt idx="47">
                  <c:v>4</c:v>
                </c:pt>
                <c:pt idx="48">
                  <c:v>6</c:v>
                </c:pt>
                <c:pt idx="49">
                  <c:v>1</c:v>
                </c:pt>
                <c:pt idx="50">
                  <c:v>1</c:v>
                </c:pt>
                <c:pt idx="51">
                  <c:v>4</c:v>
                </c:pt>
                <c:pt idx="52">
                  <c:v>0</c:v>
                </c:pt>
                <c:pt idx="53">
                  <c:v>3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2</c:v>
                </c:pt>
                <c:pt idx="61">
                  <c:v>5</c:v>
                </c:pt>
                <c:pt idx="62">
                  <c:v>0</c:v>
                </c:pt>
                <c:pt idx="63">
                  <c:v>5</c:v>
                </c:pt>
                <c:pt idx="64">
                  <c:v>0</c:v>
                </c:pt>
                <c:pt idx="65">
                  <c:v>2</c:v>
                </c:pt>
                <c:pt idx="66">
                  <c:v>2</c:v>
                </c:pt>
                <c:pt idx="67">
                  <c:v>7</c:v>
                </c:pt>
                <c:pt idx="68">
                  <c:v>12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4</c:v>
                </c:pt>
                <c:pt idx="73">
                  <c:v>8</c:v>
                </c:pt>
                <c:pt idx="74">
                  <c:v>3</c:v>
                </c:pt>
                <c:pt idx="75">
                  <c:v>7</c:v>
                </c:pt>
                <c:pt idx="76">
                  <c:v>9</c:v>
                </c:pt>
                <c:pt idx="77">
                  <c:v>3</c:v>
                </c:pt>
                <c:pt idx="78">
                  <c:v>1</c:v>
                </c:pt>
                <c:pt idx="79">
                  <c:v>7</c:v>
                </c:pt>
                <c:pt idx="80">
                  <c:v>6</c:v>
                </c:pt>
                <c:pt idx="81">
                  <c:v>6</c:v>
                </c:pt>
                <c:pt idx="82">
                  <c:v>4</c:v>
                </c:pt>
                <c:pt idx="83">
                  <c:v>4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5</c:v>
                </c:pt>
                <c:pt idx="90">
                  <c:v>5</c:v>
                </c:pt>
                <c:pt idx="91">
                  <c:v>3</c:v>
                </c:pt>
                <c:pt idx="92">
                  <c:v>1</c:v>
                </c:pt>
                <c:pt idx="93">
                  <c:v>4</c:v>
                </c:pt>
                <c:pt idx="94">
                  <c:v>12</c:v>
                </c:pt>
                <c:pt idx="95">
                  <c:v>14</c:v>
                </c:pt>
                <c:pt idx="96">
                  <c:v>8</c:v>
                </c:pt>
                <c:pt idx="97">
                  <c:v>13</c:v>
                </c:pt>
                <c:pt idx="98">
                  <c:v>14</c:v>
                </c:pt>
                <c:pt idx="99">
                  <c:v>21</c:v>
                </c:pt>
                <c:pt idx="100">
                  <c:v>9</c:v>
                </c:pt>
                <c:pt idx="101">
                  <c:v>4</c:v>
                </c:pt>
                <c:pt idx="102">
                  <c:v>10</c:v>
                </c:pt>
                <c:pt idx="103">
                  <c:v>8</c:v>
                </c:pt>
                <c:pt idx="104">
                  <c:v>5</c:v>
                </c:pt>
                <c:pt idx="105">
                  <c:v>5</c:v>
                </c:pt>
                <c:pt idx="106">
                  <c:v>1</c:v>
                </c:pt>
                <c:pt idx="107">
                  <c:v>7</c:v>
                </c:pt>
                <c:pt idx="108">
                  <c:v>14</c:v>
                </c:pt>
                <c:pt idx="109">
                  <c:v>8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1</c:v>
                </c:pt>
                <c:pt idx="114">
                  <c:v>2</c:v>
                </c:pt>
                <c:pt idx="115">
                  <c:v>4</c:v>
                </c:pt>
                <c:pt idx="116">
                  <c:v>5</c:v>
                </c:pt>
                <c:pt idx="117">
                  <c:v>7</c:v>
                </c:pt>
                <c:pt idx="118">
                  <c:v>7</c:v>
                </c:pt>
                <c:pt idx="119">
                  <c:v>6</c:v>
                </c:pt>
                <c:pt idx="120">
                  <c:v>2</c:v>
                </c:pt>
                <c:pt idx="121">
                  <c:v>10</c:v>
                </c:pt>
                <c:pt idx="122">
                  <c:v>17</c:v>
                </c:pt>
                <c:pt idx="123">
                  <c:v>15</c:v>
                </c:pt>
                <c:pt idx="124">
                  <c:v>9</c:v>
                </c:pt>
                <c:pt idx="125">
                  <c:v>9</c:v>
                </c:pt>
                <c:pt idx="126">
                  <c:v>4</c:v>
                </c:pt>
                <c:pt idx="127">
                  <c:v>4</c:v>
                </c:pt>
                <c:pt idx="128">
                  <c:v>9</c:v>
                </c:pt>
                <c:pt idx="129">
                  <c:v>13</c:v>
                </c:pt>
                <c:pt idx="130">
                  <c:v>16</c:v>
                </c:pt>
                <c:pt idx="131">
                  <c:v>12</c:v>
                </c:pt>
                <c:pt idx="132">
                  <c:v>9</c:v>
                </c:pt>
                <c:pt idx="133">
                  <c:v>5</c:v>
                </c:pt>
                <c:pt idx="134">
                  <c:v>7</c:v>
                </c:pt>
                <c:pt idx="135">
                  <c:v>13</c:v>
                </c:pt>
                <c:pt idx="136">
                  <c:v>20</c:v>
                </c:pt>
                <c:pt idx="137">
                  <c:v>15</c:v>
                </c:pt>
                <c:pt idx="138">
                  <c:v>23</c:v>
                </c:pt>
                <c:pt idx="139">
                  <c:v>13</c:v>
                </c:pt>
                <c:pt idx="140">
                  <c:v>30</c:v>
                </c:pt>
                <c:pt idx="141">
                  <c:v>3</c:v>
                </c:pt>
                <c:pt idx="142">
                  <c:v>7</c:v>
                </c:pt>
                <c:pt idx="143">
                  <c:v>19</c:v>
                </c:pt>
                <c:pt idx="144">
                  <c:v>13</c:v>
                </c:pt>
                <c:pt idx="145">
                  <c:v>22</c:v>
                </c:pt>
                <c:pt idx="146">
                  <c:v>17</c:v>
                </c:pt>
                <c:pt idx="147">
                  <c:v>26</c:v>
                </c:pt>
                <c:pt idx="148">
                  <c:v>11</c:v>
                </c:pt>
                <c:pt idx="149">
                  <c:v>24</c:v>
                </c:pt>
                <c:pt idx="150">
                  <c:v>28</c:v>
                </c:pt>
                <c:pt idx="151">
                  <c:v>30</c:v>
                </c:pt>
                <c:pt idx="152">
                  <c:v>61</c:v>
                </c:pt>
                <c:pt idx="153">
                  <c:v>49</c:v>
                </c:pt>
                <c:pt idx="154">
                  <c:v>29</c:v>
                </c:pt>
                <c:pt idx="155">
                  <c:v>11</c:v>
                </c:pt>
                <c:pt idx="156">
                  <c:v>48</c:v>
                </c:pt>
                <c:pt idx="157">
                  <c:v>46</c:v>
                </c:pt>
                <c:pt idx="158">
                  <c:v>84</c:v>
                </c:pt>
                <c:pt idx="159">
                  <c:v>77</c:v>
                </c:pt>
                <c:pt idx="160">
                  <c:v>46</c:v>
                </c:pt>
                <c:pt idx="161">
                  <c:v>35</c:v>
                </c:pt>
                <c:pt idx="162">
                  <c:v>12</c:v>
                </c:pt>
                <c:pt idx="163">
                  <c:v>99</c:v>
                </c:pt>
                <c:pt idx="164">
                  <c:v>123</c:v>
                </c:pt>
                <c:pt idx="165">
                  <c:v>137</c:v>
                </c:pt>
                <c:pt idx="166">
                  <c:v>151</c:v>
                </c:pt>
                <c:pt idx="167">
                  <c:v>160</c:v>
                </c:pt>
                <c:pt idx="168">
                  <c:v>125</c:v>
                </c:pt>
                <c:pt idx="169">
                  <c:v>47</c:v>
                </c:pt>
                <c:pt idx="170">
                  <c:v>191</c:v>
                </c:pt>
                <c:pt idx="171">
                  <c:v>313</c:v>
                </c:pt>
                <c:pt idx="172">
                  <c:v>239</c:v>
                </c:pt>
                <c:pt idx="173">
                  <c:v>352</c:v>
                </c:pt>
                <c:pt idx="174">
                  <c:v>416</c:v>
                </c:pt>
                <c:pt idx="175">
                  <c:v>289</c:v>
                </c:pt>
                <c:pt idx="176">
                  <c:v>134</c:v>
                </c:pt>
                <c:pt idx="177">
                  <c:v>265</c:v>
                </c:pt>
                <c:pt idx="178">
                  <c:v>594</c:v>
                </c:pt>
                <c:pt idx="179">
                  <c:v>556</c:v>
                </c:pt>
                <c:pt idx="180">
                  <c:v>319</c:v>
                </c:pt>
                <c:pt idx="181">
                  <c:v>525</c:v>
                </c:pt>
                <c:pt idx="182">
                  <c:v>373</c:v>
                </c:pt>
                <c:pt idx="183">
                  <c:v>204</c:v>
                </c:pt>
                <c:pt idx="184">
                  <c:v>723</c:v>
                </c:pt>
                <c:pt idx="185">
                  <c:v>903</c:v>
                </c:pt>
                <c:pt idx="186">
                  <c:v>940</c:v>
                </c:pt>
                <c:pt idx="187">
                  <c:v>857</c:v>
                </c:pt>
                <c:pt idx="188">
                  <c:v>951</c:v>
                </c:pt>
                <c:pt idx="189">
                  <c:v>535</c:v>
                </c:pt>
                <c:pt idx="190">
                  <c:v>284</c:v>
                </c:pt>
                <c:pt idx="191">
                  <c:v>613</c:v>
                </c:pt>
                <c:pt idx="192">
                  <c:v>1381</c:v>
                </c:pt>
                <c:pt idx="193">
                  <c:v>1223</c:v>
                </c:pt>
                <c:pt idx="194">
                  <c:v>1186</c:v>
                </c:pt>
                <c:pt idx="195">
                  <c:v>1303</c:v>
                </c:pt>
                <c:pt idx="196">
                  <c:v>690</c:v>
                </c:pt>
                <c:pt idx="197">
                  <c:v>487</c:v>
                </c:pt>
                <c:pt idx="198">
                  <c:v>819</c:v>
                </c:pt>
                <c:pt idx="199">
                  <c:v>1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FF-47AF-8B33-C07C3C8439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1197</c:v>
                </c:pt>
                <c:pt idx="196">
                  <c:v>1200</c:v>
                </c:pt>
                <c:pt idx="197">
                  <c:v>1233</c:v>
                </c:pt>
                <c:pt idx="198">
                  <c:v>1286</c:v>
                </c:pt>
                <c:pt idx="199">
                  <c:v>1318</c:v>
                </c:pt>
                <c:pt idx="200">
                  <c:v>1338</c:v>
                </c:pt>
                <c:pt idx="201">
                  <c:v>1351</c:v>
                </c:pt>
                <c:pt idx="202">
                  <c:v>1361</c:v>
                </c:pt>
                <c:pt idx="203">
                  <c:v>1393</c:v>
                </c:pt>
                <c:pt idx="204">
                  <c:v>1430</c:v>
                </c:pt>
                <c:pt idx="205">
                  <c:v>1462</c:v>
                </c:pt>
                <c:pt idx="206">
                  <c:v>1483</c:v>
                </c:pt>
                <c:pt idx="207">
                  <c:v>1504</c:v>
                </c:pt>
                <c:pt idx="208">
                  <c:v>1529</c:v>
                </c:pt>
                <c:pt idx="209">
                  <c:v>1559</c:v>
                </c:pt>
                <c:pt idx="210">
                  <c:v>1593</c:v>
                </c:pt>
                <c:pt idx="211">
                  <c:v>1623</c:v>
                </c:pt>
                <c:pt idx="212">
                  <c:v>1650</c:v>
                </c:pt>
                <c:pt idx="213">
                  <c:v>1677</c:v>
                </c:pt>
                <c:pt idx="214">
                  <c:v>1707</c:v>
                </c:pt>
                <c:pt idx="215">
                  <c:v>1740</c:v>
                </c:pt>
                <c:pt idx="216">
                  <c:v>1773</c:v>
                </c:pt>
                <c:pt idx="217">
                  <c:v>1805</c:v>
                </c:pt>
                <c:pt idx="218">
                  <c:v>1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FF-47AF-8B33-C07C3C8439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1240</c:v>
                </c:pt>
                <c:pt idx="196">
                  <c:v>1271</c:v>
                </c:pt>
                <c:pt idx="197">
                  <c:v>1323</c:v>
                </c:pt>
                <c:pt idx="198">
                  <c:v>1389</c:v>
                </c:pt>
                <c:pt idx="199">
                  <c:v>1443</c:v>
                </c:pt>
                <c:pt idx="200">
                  <c:v>1489</c:v>
                </c:pt>
                <c:pt idx="201">
                  <c:v>1533</c:v>
                </c:pt>
                <c:pt idx="202">
                  <c:v>1575</c:v>
                </c:pt>
                <c:pt idx="203">
                  <c:v>1635</c:v>
                </c:pt>
                <c:pt idx="204">
                  <c:v>1700</c:v>
                </c:pt>
                <c:pt idx="205">
                  <c:v>1763</c:v>
                </c:pt>
                <c:pt idx="206">
                  <c:v>1818</c:v>
                </c:pt>
                <c:pt idx="207">
                  <c:v>1876</c:v>
                </c:pt>
                <c:pt idx="208">
                  <c:v>1939</c:v>
                </c:pt>
                <c:pt idx="209">
                  <c:v>2008</c:v>
                </c:pt>
                <c:pt idx="210">
                  <c:v>2081</c:v>
                </c:pt>
                <c:pt idx="211">
                  <c:v>2153</c:v>
                </c:pt>
                <c:pt idx="212">
                  <c:v>2225</c:v>
                </c:pt>
                <c:pt idx="213">
                  <c:v>2299</c:v>
                </c:pt>
                <c:pt idx="214">
                  <c:v>2378</c:v>
                </c:pt>
                <c:pt idx="215">
                  <c:v>2461</c:v>
                </c:pt>
                <c:pt idx="216">
                  <c:v>2547</c:v>
                </c:pt>
                <c:pt idx="217">
                  <c:v>2634</c:v>
                </c:pt>
                <c:pt idx="218">
                  <c:v>2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9FF-47AF-8B33-C07C3C8439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1283</c:v>
                </c:pt>
                <c:pt idx="196">
                  <c:v>1342</c:v>
                </c:pt>
                <c:pt idx="197">
                  <c:v>1413</c:v>
                </c:pt>
                <c:pt idx="198">
                  <c:v>1493</c:v>
                </c:pt>
                <c:pt idx="199">
                  <c:v>1570</c:v>
                </c:pt>
                <c:pt idx="200">
                  <c:v>1646</c:v>
                </c:pt>
                <c:pt idx="201">
                  <c:v>1724</c:v>
                </c:pt>
                <c:pt idx="202">
                  <c:v>1805</c:v>
                </c:pt>
                <c:pt idx="203">
                  <c:v>1898</c:v>
                </c:pt>
                <c:pt idx="204">
                  <c:v>1996</c:v>
                </c:pt>
                <c:pt idx="205">
                  <c:v>2097</c:v>
                </c:pt>
                <c:pt idx="206">
                  <c:v>2198</c:v>
                </c:pt>
                <c:pt idx="207">
                  <c:v>2305</c:v>
                </c:pt>
                <c:pt idx="208">
                  <c:v>2419</c:v>
                </c:pt>
                <c:pt idx="209">
                  <c:v>2540</c:v>
                </c:pt>
                <c:pt idx="210">
                  <c:v>2668</c:v>
                </c:pt>
                <c:pt idx="211">
                  <c:v>2800</c:v>
                </c:pt>
                <c:pt idx="212">
                  <c:v>2937</c:v>
                </c:pt>
                <c:pt idx="213">
                  <c:v>3081</c:v>
                </c:pt>
                <c:pt idx="214">
                  <c:v>3234</c:v>
                </c:pt>
                <c:pt idx="215">
                  <c:v>3395</c:v>
                </c:pt>
                <c:pt idx="216">
                  <c:v>3563</c:v>
                </c:pt>
                <c:pt idx="217">
                  <c:v>3739</c:v>
                </c:pt>
                <c:pt idx="218">
                  <c:v>3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9FF-47AF-8B33-C07C3C8439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1327</c:v>
                </c:pt>
                <c:pt idx="196">
                  <c:v>1413</c:v>
                </c:pt>
                <c:pt idx="197">
                  <c:v>1503</c:v>
                </c:pt>
                <c:pt idx="198">
                  <c:v>1597</c:v>
                </c:pt>
                <c:pt idx="199">
                  <c:v>1699</c:v>
                </c:pt>
                <c:pt idx="200">
                  <c:v>1808</c:v>
                </c:pt>
                <c:pt idx="201">
                  <c:v>1925</c:v>
                </c:pt>
                <c:pt idx="202">
                  <c:v>2050</c:v>
                </c:pt>
                <c:pt idx="203">
                  <c:v>2180</c:v>
                </c:pt>
                <c:pt idx="204">
                  <c:v>2319</c:v>
                </c:pt>
                <c:pt idx="205">
                  <c:v>2466</c:v>
                </c:pt>
                <c:pt idx="206">
                  <c:v>2625</c:v>
                </c:pt>
                <c:pt idx="207">
                  <c:v>2793</c:v>
                </c:pt>
                <c:pt idx="208">
                  <c:v>2972</c:v>
                </c:pt>
                <c:pt idx="209">
                  <c:v>3161</c:v>
                </c:pt>
                <c:pt idx="210">
                  <c:v>3363</c:v>
                </c:pt>
                <c:pt idx="211">
                  <c:v>3577</c:v>
                </c:pt>
                <c:pt idx="212">
                  <c:v>3806</c:v>
                </c:pt>
                <c:pt idx="213">
                  <c:v>4049</c:v>
                </c:pt>
                <c:pt idx="214">
                  <c:v>4308</c:v>
                </c:pt>
                <c:pt idx="215">
                  <c:v>4582</c:v>
                </c:pt>
                <c:pt idx="216">
                  <c:v>4874</c:v>
                </c:pt>
                <c:pt idx="217">
                  <c:v>5185</c:v>
                </c:pt>
                <c:pt idx="218">
                  <c:v>5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F-41E2-A2D7-553F333F2977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34.415928389493153</c:v>
                </c:pt>
                <c:pt idx="1">
                  <c:v>27.278984714252633</c:v>
                </c:pt>
                <c:pt idx="2">
                  <c:v>24.741404740833783</c:v>
                </c:pt>
                <c:pt idx="3">
                  <c:v>23.314016005785682</c:v>
                </c:pt>
                <c:pt idx="4">
                  <c:v>21.569429774060222</c:v>
                </c:pt>
                <c:pt idx="5">
                  <c:v>20.617837284028155</c:v>
                </c:pt>
                <c:pt idx="6">
                  <c:v>16.970066072238559</c:v>
                </c:pt>
                <c:pt idx="7">
                  <c:v>16.335671078883845</c:v>
                </c:pt>
                <c:pt idx="8">
                  <c:v>15.859874833867812</c:v>
                </c:pt>
                <c:pt idx="9">
                  <c:v>13.956689853803674</c:v>
                </c:pt>
                <c:pt idx="10">
                  <c:v>13.798091105464996</c:v>
                </c:pt>
                <c:pt idx="11">
                  <c:v>12.529301118755573</c:v>
                </c:pt>
                <c:pt idx="12">
                  <c:v>12.529301118755573</c:v>
                </c:pt>
                <c:pt idx="13">
                  <c:v>11.419109880384825</c:v>
                </c:pt>
                <c:pt idx="14">
                  <c:v>9.1987274036433302</c:v>
                </c:pt>
                <c:pt idx="15">
                  <c:v>7.6127399202565496</c:v>
                </c:pt>
                <c:pt idx="16">
                  <c:v>6.9783449269018369</c:v>
                </c:pt>
                <c:pt idx="17">
                  <c:v>6.026752436869768</c:v>
                </c:pt>
                <c:pt idx="18">
                  <c:v>5.8681536885310903</c:v>
                </c:pt>
                <c:pt idx="19">
                  <c:v>5.0751599468376991</c:v>
                </c:pt>
                <c:pt idx="20">
                  <c:v>4.2821662051443088</c:v>
                </c:pt>
                <c:pt idx="21">
                  <c:v>3.1719749667735622</c:v>
                </c:pt>
                <c:pt idx="22">
                  <c:v>3.013376218434884</c:v>
                </c:pt>
                <c:pt idx="23">
                  <c:v>2.8547774700962063</c:v>
                </c:pt>
                <c:pt idx="24">
                  <c:v>2.0617837284028155</c:v>
                </c:pt>
                <c:pt idx="25">
                  <c:v>2.0617837284028155</c:v>
                </c:pt>
                <c:pt idx="26">
                  <c:v>1.9031849800641374</c:v>
                </c:pt>
                <c:pt idx="27">
                  <c:v>1.2687899867094248</c:v>
                </c:pt>
                <c:pt idx="28">
                  <c:v>1.5859874833867811</c:v>
                </c:pt>
                <c:pt idx="29">
                  <c:v>1.4273887350481032</c:v>
                </c:pt>
                <c:pt idx="30">
                  <c:v>1.7445862317254592</c:v>
                </c:pt>
                <c:pt idx="31">
                  <c:v>1.5859874833867811</c:v>
                </c:pt>
                <c:pt idx="32">
                  <c:v>2.2203824767414937</c:v>
                </c:pt>
                <c:pt idx="33">
                  <c:v>2.2203824767414937</c:v>
                </c:pt>
                <c:pt idx="34">
                  <c:v>2.5375799734188496</c:v>
                </c:pt>
                <c:pt idx="35">
                  <c:v>2.5375799734188496</c:v>
                </c:pt>
                <c:pt idx="36">
                  <c:v>3.3305737151122403</c:v>
                </c:pt>
                <c:pt idx="37">
                  <c:v>4.4407649534829874</c:v>
                </c:pt>
                <c:pt idx="38">
                  <c:v>4.5993637018216651</c:v>
                </c:pt>
                <c:pt idx="39">
                  <c:v>4.1235674568056311</c:v>
                </c:pt>
                <c:pt idx="40">
                  <c:v>4.2821662051443088</c:v>
                </c:pt>
                <c:pt idx="41">
                  <c:v>4.5993637018216651</c:v>
                </c:pt>
                <c:pt idx="42">
                  <c:v>5.550956191853734</c:v>
                </c:pt>
                <c:pt idx="43">
                  <c:v>4.9165611984990214</c:v>
                </c:pt>
                <c:pt idx="44">
                  <c:v>4.1235674568056311</c:v>
                </c:pt>
                <c:pt idx="45">
                  <c:v>5.3923574435150554</c:v>
                </c:pt>
                <c:pt idx="46">
                  <c:v>5.550956191853734</c:v>
                </c:pt>
                <c:pt idx="47">
                  <c:v>5.550956191853734</c:v>
                </c:pt>
                <c:pt idx="48">
                  <c:v>6.026752436869768</c:v>
                </c:pt>
                <c:pt idx="49">
                  <c:v>5.7095549401924126</c:v>
                </c:pt>
                <c:pt idx="50">
                  <c:v>6.1853511852084457</c:v>
                </c:pt>
                <c:pt idx="51">
                  <c:v>5.7095549401924126</c:v>
                </c:pt>
                <c:pt idx="52">
                  <c:v>4.9165611984990214</c:v>
                </c:pt>
                <c:pt idx="53">
                  <c:v>4.9165611984990214</c:v>
                </c:pt>
                <c:pt idx="54">
                  <c:v>4.9165611984990214</c:v>
                </c:pt>
                <c:pt idx="55">
                  <c:v>4.2821662051443088</c:v>
                </c:pt>
                <c:pt idx="56">
                  <c:v>3.9649687084669529</c:v>
                </c:pt>
                <c:pt idx="57">
                  <c:v>3.4891724634509185</c:v>
                </c:pt>
                <c:pt idx="58">
                  <c:v>3.6477712117895966</c:v>
                </c:pt>
                <c:pt idx="59">
                  <c:v>3.8063699601282748</c:v>
                </c:pt>
                <c:pt idx="60">
                  <c:v>3.8063699601282748</c:v>
                </c:pt>
                <c:pt idx="61">
                  <c:v>3.8063699601282748</c:v>
                </c:pt>
                <c:pt idx="62">
                  <c:v>3.9649687084669529</c:v>
                </c:pt>
                <c:pt idx="63">
                  <c:v>5.2337586951763777</c:v>
                </c:pt>
                <c:pt idx="64">
                  <c:v>6.9783449269018369</c:v>
                </c:pt>
                <c:pt idx="65">
                  <c:v>7.4541411719178718</c:v>
                </c:pt>
                <c:pt idx="66">
                  <c:v>8.7229311586272971</c:v>
                </c:pt>
                <c:pt idx="67">
                  <c:v>10.467517390352755</c:v>
                </c:pt>
                <c:pt idx="68">
                  <c:v>13.639492357126317</c:v>
                </c:pt>
                <c:pt idx="69">
                  <c:v>14.432486098819709</c:v>
                </c:pt>
                <c:pt idx="70">
                  <c:v>13.163696112110284</c:v>
                </c:pt>
                <c:pt idx="71">
                  <c:v>12.529301118755573</c:v>
                </c:pt>
                <c:pt idx="72">
                  <c:v>12.529301118755573</c:v>
                </c:pt>
                <c:pt idx="73">
                  <c:v>11.260511132046146</c:v>
                </c:pt>
                <c:pt idx="74">
                  <c:v>9.8331223969980428</c:v>
                </c:pt>
                <c:pt idx="75">
                  <c:v>6.6611474302244806</c:v>
                </c:pt>
                <c:pt idx="76">
                  <c:v>6.3439499335471243</c:v>
                </c:pt>
                <c:pt idx="77">
                  <c:v>7.9299374169339059</c:v>
                </c:pt>
                <c:pt idx="78">
                  <c:v>7.6127399202565496</c:v>
                </c:pt>
                <c:pt idx="79">
                  <c:v>6.9783449269018369</c:v>
                </c:pt>
                <c:pt idx="80">
                  <c:v>6.6611474302244806</c:v>
                </c:pt>
                <c:pt idx="81">
                  <c:v>6.6611474302244806</c:v>
                </c:pt>
                <c:pt idx="82">
                  <c:v>6.6611474302244806</c:v>
                </c:pt>
                <c:pt idx="83">
                  <c:v>5.8681536885310903</c:v>
                </c:pt>
                <c:pt idx="84">
                  <c:v>4.2821662051443088</c:v>
                </c:pt>
                <c:pt idx="85">
                  <c:v>3.8063699601282748</c:v>
                </c:pt>
                <c:pt idx="86">
                  <c:v>4.2821662051443088</c:v>
                </c:pt>
                <c:pt idx="87">
                  <c:v>4.9165611984990214</c:v>
                </c:pt>
                <c:pt idx="88">
                  <c:v>5.0751599468376991</c:v>
                </c:pt>
                <c:pt idx="89">
                  <c:v>5.2337586951763777</c:v>
                </c:pt>
                <c:pt idx="90">
                  <c:v>6.502548681885802</c:v>
                </c:pt>
                <c:pt idx="91">
                  <c:v>8.5643324102886176</c:v>
                </c:pt>
                <c:pt idx="92">
                  <c:v>10.150319893675398</c:v>
                </c:pt>
                <c:pt idx="93">
                  <c:v>10.467517390352755</c:v>
                </c:pt>
                <c:pt idx="94">
                  <c:v>10.784714887030111</c:v>
                </c:pt>
                <c:pt idx="95">
                  <c:v>10.467517390352755</c:v>
                </c:pt>
                <c:pt idx="96">
                  <c:v>10.784714887030111</c:v>
                </c:pt>
                <c:pt idx="97">
                  <c:v>10.626116138691433</c:v>
                </c:pt>
                <c:pt idx="98">
                  <c:v>9.9917211453367205</c:v>
                </c:pt>
                <c:pt idx="99">
                  <c:v>10.150319893675398</c:v>
                </c:pt>
                <c:pt idx="100">
                  <c:v>10.626116138691433</c:v>
                </c:pt>
                <c:pt idx="101">
                  <c:v>10.626116138691433</c:v>
                </c:pt>
                <c:pt idx="102">
                  <c:v>10.784714887030111</c:v>
                </c:pt>
                <c:pt idx="103">
                  <c:v>11.260511132046146</c:v>
                </c:pt>
                <c:pt idx="104">
                  <c:v>11.894906125400858</c:v>
                </c:pt>
                <c:pt idx="105">
                  <c:v>13.005097363771604</c:v>
                </c:pt>
                <c:pt idx="106">
                  <c:v>12.846498615432926</c:v>
                </c:pt>
                <c:pt idx="107">
                  <c:v>14.591084847158386</c:v>
                </c:pt>
                <c:pt idx="108">
                  <c:v>15.225479840513099</c:v>
                </c:pt>
                <c:pt idx="109">
                  <c:v>19.190448548980054</c:v>
                </c:pt>
                <c:pt idx="110">
                  <c:v>18.55605355562534</c:v>
                </c:pt>
                <c:pt idx="111">
                  <c:v>17.60446106559327</c:v>
                </c:pt>
                <c:pt idx="112">
                  <c:v>17.445862317254594</c:v>
                </c:pt>
                <c:pt idx="113">
                  <c:v>17.128664820577235</c:v>
                </c:pt>
                <c:pt idx="114">
                  <c:v>16.970066072238559</c:v>
                </c:pt>
                <c:pt idx="115">
                  <c:v>17.60446106559327</c:v>
                </c:pt>
                <c:pt idx="116">
                  <c:v>16.970066072238559</c:v>
                </c:pt>
                <c:pt idx="117">
                  <c:v>18.238856058947984</c:v>
                </c:pt>
                <c:pt idx="118">
                  <c:v>20.935034780705511</c:v>
                </c:pt>
                <c:pt idx="119">
                  <c:v>22.362423515753616</c:v>
                </c:pt>
                <c:pt idx="120">
                  <c:v>25.058602237511145</c:v>
                </c:pt>
                <c:pt idx="121">
                  <c:v>31.243953422719589</c:v>
                </c:pt>
                <c:pt idx="122">
                  <c:v>36.319113369557286</c:v>
                </c:pt>
                <c:pt idx="123">
                  <c:v>36.794909614573321</c:v>
                </c:pt>
                <c:pt idx="124">
                  <c:v>36.794909614573321</c:v>
                </c:pt>
                <c:pt idx="125">
                  <c:v>40.601279574701593</c:v>
                </c:pt>
                <c:pt idx="126">
                  <c:v>43.456057044797802</c:v>
                </c:pt>
                <c:pt idx="127">
                  <c:v>52.020389455086416</c:v>
                </c:pt>
                <c:pt idx="128">
                  <c:v>54.557969428505267</c:v>
                </c:pt>
                <c:pt idx="129">
                  <c:v>54.082173183489232</c:v>
                </c:pt>
                <c:pt idx="130">
                  <c:v>55.033765673521302</c:v>
                </c:pt>
                <c:pt idx="131">
                  <c:v>55.192364421859985</c:v>
                </c:pt>
                <c:pt idx="132">
                  <c:v>63.280900587132571</c:v>
                </c:pt>
                <c:pt idx="133">
                  <c:v>75.493004209210781</c:v>
                </c:pt>
                <c:pt idx="134">
                  <c:v>83.898737871160719</c:v>
                </c:pt>
                <c:pt idx="135">
                  <c:v>95.635045248222895</c:v>
                </c:pt>
                <c:pt idx="136">
                  <c:v>113.71530255883222</c:v>
                </c:pt>
                <c:pt idx="137">
                  <c:v>127.98918990931324</c:v>
                </c:pt>
                <c:pt idx="138">
                  <c:v>133.54014610116698</c:v>
                </c:pt>
                <c:pt idx="139">
                  <c:v>148.13123094832534</c:v>
                </c:pt>
                <c:pt idx="140">
                  <c:v>178.26499313267419</c:v>
                </c:pt>
                <c:pt idx="141">
                  <c:v>194.44206546321936</c:v>
                </c:pt>
                <c:pt idx="142">
                  <c:v>226.32041387929368</c:v>
                </c:pt>
                <c:pt idx="143">
                  <c:v>266.92169345399526</c:v>
                </c:pt>
                <c:pt idx="144">
                  <c:v>292.93188818153845</c:v>
                </c:pt>
                <c:pt idx="145">
                  <c:v>306.72997928700346</c:v>
                </c:pt>
                <c:pt idx="146">
                  <c:v>318.46628666406565</c:v>
                </c:pt>
                <c:pt idx="147">
                  <c:v>363.03253494723418</c:v>
                </c:pt>
                <c:pt idx="148">
                  <c:v>413.30833817059516</c:v>
                </c:pt>
                <c:pt idx="149">
                  <c:v>408.07457947541883</c:v>
                </c:pt>
                <c:pt idx="150">
                  <c:v>425.36184304433465</c:v>
                </c:pt>
                <c:pt idx="151">
                  <c:v>438.68413790478365</c:v>
                </c:pt>
                <c:pt idx="152">
                  <c:v>449.78605028849108</c:v>
                </c:pt>
                <c:pt idx="153">
                  <c:v>522.42427702760574</c:v>
                </c:pt>
                <c:pt idx="154">
                  <c:v>571.43129026425731</c:v>
                </c:pt>
                <c:pt idx="155">
                  <c:v>632.33320962630967</c:v>
                </c:pt>
                <c:pt idx="156">
                  <c:v>717.65933623251851</c:v>
                </c:pt>
                <c:pt idx="157">
                  <c:v>785.22240302479531</c:v>
                </c:pt>
                <c:pt idx="158">
                  <c:v>810.9154002556611</c:v>
                </c:pt>
                <c:pt idx="159">
                  <c:v>823.60330012275551</c:v>
                </c:pt>
                <c:pt idx="160">
                  <c:v>806.15743780550076</c:v>
                </c:pt>
                <c:pt idx="161">
                  <c:v>881.96763951138894</c:v>
                </c:pt>
                <c:pt idx="162">
                  <c:v>926.85108529123488</c:v>
                </c:pt>
                <c:pt idx="163">
                  <c:v>979.03007349465997</c:v>
                </c:pt>
                <c:pt idx="164">
                  <c:v>1034.8568329098748</c:v>
                </c:pt>
                <c:pt idx="165">
                  <c:v>1059.4396389023698</c:v>
                </c:pt>
                <c:pt idx="166">
                  <c:v>1091.6351848151214</c:v>
                </c:pt>
                <c:pt idx="167">
                  <c:v>1124.3065269728893</c:v>
                </c:pt>
                <c:pt idx="168">
                  <c:v>1216.9281960026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EF-41E2-A2D7-553F333F29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998.85491703699472</c:v>
                </c:pt>
                <c:pt idx="165" formatCode="0">
                  <c:v>1031.0504629497464</c:v>
                </c:pt>
                <c:pt idx="166" formatCode="0">
                  <c:v>1060.0740338957246</c:v>
                </c:pt>
                <c:pt idx="167" formatCode="0">
                  <c:v>1087.8288148549932</c:v>
                </c:pt>
                <c:pt idx="168" formatCode="0">
                  <c:v>1111.3014296091176</c:v>
                </c:pt>
                <c:pt idx="169" formatCode="0">
                  <c:v>1128.4300944296947</c:v>
                </c:pt>
                <c:pt idx="170" formatCode="0">
                  <c:v>1137.7874205816768</c:v>
                </c:pt>
                <c:pt idx="171" formatCode="0">
                  <c:v>1154.2816904088993</c:v>
                </c:pt>
                <c:pt idx="172" formatCode="0">
                  <c:v>1178.8644964013945</c:v>
                </c:pt>
                <c:pt idx="173" formatCode="0">
                  <c:v>1203.9230986389055</c:v>
                </c:pt>
                <c:pt idx="174" formatCode="0">
                  <c:v>1226.2855221546592</c:v>
                </c:pt>
                <c:pt idx="175" formatCode="0">
                  <c:v>1247.3791556837032</c:v>
                </c:pt>
                <c:pt idx="176" formatCode="0">
                  <c:v>1268.314190464409</c:v>
                </c:pt>
                <c:pt idx="177" formatCode="0">
                  <c:v>1290.8352127285011</c:v>
                </c:pt>
                <c:pt idx="178" formatCode="0">
                  <c:v>1316.0524137143509</c:v>
                </c:pt>
                <c:pt idx="179" formatCode="0">
                  <c:v>1341.2696147002007</c:v>
                </c:pt>
                <c:pt idx="180" formatCode="0">
                  <c:v>1365.6938219443571</c:v>
                </c:pt>
                <c:pt idx="181" formatCode="0">
                  <c:v>1389.4836341951589</c:v>
                </c:pt>
                <c:pt idx="182" formatCode="0">
                  <c:v>1414.0664401876541</c:v>
                </c:pt>
                <c:pt idx="183" formatCode="0">
                  <c:v>1439.9180361668584</c:v>
                </c:pt>
                <c:pt idx="184" formatCode="0">
                  <c:v>1466.721224636095</c:v>
                </c:pt>
                <c:pt idx="185" formatCode="0">
                  <c:v>1493.841610602009</c:v>
                </c:pt>
                <c:pt idx="186" formatCode="0">
                  <c:v>1520.9619965679231</c:v>
                </c:pt>
                <c:pt idx="187" formatCode="0">
                  <c:v>1548.0823825338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EF-41E2-A2D7-553F333F29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1004.5644719771872</c:v>
                </c:pt>
                <c:pt idx="165" formatCode="0">
                  <c:v>1045.8001465452435</c:v>
                </c:pt>
                <c:pt idx="166" formatCode="0">
                  <c:v>1086.2428273716064</c:v>
                </c:pt>
                <c:pt idx="167" formatCode="0">
                  <c:v>1127.1613044429853</c:v>
                </c:pt>
                <c:pt idx="168" formatCode="0">
                  <c:v>1166.4937940309774</c:v>
                </c:pt>
                <c:pt idx="169" formatCode="0">
                  <c:v>1202.6543086521961</c:v>
                </c:pt>
                <c:pt idx="170" formatCode="0">
                  <c:v>1235.0084533132865</c:v>
                </c:pt>
                <c:pt idx="171" formatCode="0">
                  <c:v>1273.0721529145692</c:v>
                </c:pt>
                <c:pt idx="172" formatCode="0">
                  <c:v>1319.3829874294631</c:v>
                </c:pt>
                <c:pt idx="173" formatCode="0">
                  <c:v>1367.2798094277439</c:v>
                </c:pt>
                <c:pt idx="174" formatCode="0">
                  <c:v>1414.7008351810086</c:v>
                </c:pt>
                <c:pt idx="175" formatCode="0">
                  <c:v>1462.4390584309508</c:v>
                </c:pt>
                <c:pt idx="176" formatCode="0">
                  <c:v>1511.604670415941</c:v>
                </c:pt>
                <c:pt idx="177" formatCode="0">
                  <c:v>1563.3078623743504</c:v>
                </c:pt>
                <c:pt idx="178" formatCode="0">
                  <c:v>1618.1830292995328</c:v>
                </c:pt>
                <c:pt idx="179" formatCode="0">
                  <c:v>1674.8027824564408</c:v>
                </c:pt>
                <c:pt idx="180" formatCode="0">
                  <c:v>1732.3741281033811</c:v>
                </c:pt>
                <c:pt idx="181" formatCode="0">
                  <c:v>1791.0556649886919</c:v>
                </c:pt>
                <c:pt idx="182" formatCode="0">
                  <c:v>1852.1161830990829</c:v>
                </c:pt>
                <c:pt idx="183" formatCode="0">
                  <c:v>1915.8728799312314</c:v>
                </c:pt>
                <c:pt idx="184" formatCode="0">
                  <c:v>1982.1671567367991</c:v>
                </c:pt>
                <c:pt idx="185" formatCode="0">
                  <c:v>2050.5232172707692</c:v>
                </c:pt>
                <c:pt idx="186" formatCode="0">
                  <c:v>2120.623864036465</c:v>
                </c:pt>
                <c:pt idx="187" formatCode="0">
                  <c:v>2192.7862945305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EF-41E2-A2D7-553F333F297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1010.1154281690408</c:v>
                </c:pt>
                <c:pt idx="165" formatCode="0">
                  <c:v>1060.3912313924018</c:v>
                </c:pt>
                <c:pt idx="166" formatCode="0">
                  <c:v>1112.2530220991496</c:v>
                </c:pt>
                <c:pt idx="167" formatCode="0">
                  <c:v>1166.3351952826388</c:v>
                </c:pt>
                <c:pt idx="168" formatCode="0">
                  <c:v>1221.8447572011762</c:v>
                </c:pt>
                <c:pt idx="169" formatCode="0">
                  <c:v>1277.9887141130682</c:v>
                </c:pt>
                <c:pt idx="170" formatCode="0">
                  <c:v>1334.7670660183151</c:v>
                </c:pt>
                <c:pt idx="171" formatCode="0">
                  <c:v>1396.3033803737221</c:v>
                </c:pt>
                <c:pt idx="172" formatCode="0">
                  <c:v>1466.8798233844338</c:v>
                </c:pt>
                <c:pt idx="173" formatCode="0">
                  <c:v>1540.9454388585964</c:v>
                </c:pt>
                <c:pt idx="174" formatCode="0">
                  <c:v>1617.548634306178</c:v>
                </c:pt>
                <c:pt idx="175" formatCode="0">
                  <c:v>1697.4824034688716</c:v>
                </c:pt>
                <c:pt idx="176" formatCode="0">
                  <c:v>1781.2225425916938</c:v>
                </c:pt>
                <c:pt idx="177" formatCode="0">
                  <c:v>1869.4034466679989</c:v>
                </c:pt>
                <c:pt idx="178" formatCode="0">
                  <c:v>1962.8181094394802</c:v>
                </c:pt>
                <c:pt idx="179" formatCode="0">
                  <c:v>2060.5149384161059</c:v>
                </c:pt>
                <c:pt idx="180" formatCode="0">
                  <c:v>2162.4939335978761</c:v>
                </c:pt>
                <c:pt idx="181" formatCode="0">
                  <c:v>2269.2308912298063</c:v>
                </c:pt>
                <c:pt idx="182" formatCode="0">
                  <c:v>2381.3602063052517</c:v>
                </c:pt>
                <c:pt idx="183" formatCode="0">
                  <c:v>2499.3576750692282</c:v>
                </c:pt>
                <c:pt idx="184" formatCode="0">
                  <c:v>2623.3818962700748</c:v>
                </c:pt>
                <c:pt idx="185" formatCode="0">
                  <c:v>2753.2742711594524</c:v>
                </c:pt>
                <c:pt idx="186" formatCode="0">
                  <c:v>2889.3519972340378</c:v>
                </c:pt>
                <c:pt idx="187" formatCode="0">
                  <c:v>3032.090870738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2EF-41E2-A2D7-553F333F297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1015.8249831092334</c:v>
                </c:pt>
                <c:pt idx="165" formatCode="0">
                  <c:v>1075.1409149878989</c:v>
                </c:pt>
                <c:pt idx="166" formatCode="0">
                  <c:v>1138.2632168266928</c:v>
                </c:pt>
                <c:pt idx="167" formatCode="0">
                  <c:v>1205.5090861222923</c:v>
                </c:pt>
                <c:pt idx="168" formatCode="0">
                  <c:v>1277.5129178680522</c:v>
                </c:pt>
                <c:pt idx="169" formatCode="0">
                  <c:v>1354.2747120639724</c:v>
                </c:pt>
                <c:pt idx="170" formatCode="0">
                  <c:v>1436.5874624517462</c:v>
                </c:pt>
                <c:pt idx="171" formatCode="0">
                  <c:v>1523.6581752896807</c:v>
                </c:pt>
                <c:pt idx="172" formatCode="0">
                  <c:v>1621.037806769629</c:v>
                </c:pt>
                <c:pt idx="173" formatCode="0">
                  <c:v>1724.7613881831246</c:v>
                </c:pt>
                <c:pt idx="174" formatCode="0">
                  <c:v>1835.1461170268444</c:v>
                </c:pt>
                <c:pt idx="175" formatCode="0">
                  <c:v>1952.6677895458051</c:v>
                </c:pt>
                <c:pt idx="176" formatCode="0">
                  <c:v>2077.8022019850218</c:v>
                </c:pt>
                <c:pt idx="177" formatCode="0">
                  <c:v>2210.707953092834</c:v>
                </c:pt>
                <c:pt idx="178" formatCode="0">
                  <c:v>2351.8608391142575</c:v>
                </c:pt>
                <c:pt idx="179" formatCode="0">
                  <c:v>2502.0538537909856</c:v>
                </c:pt>
                <c:pt idx="180" formatCode="0">
                  <c:v>2661.9213921163737</c:v>
                </c:pt>
                <c:pt idx="181" formatCode="0">
                  <c:v>2832.0978490837747</c:v>
                </c:pt>
                <c:pt idx="182" formatCode="0">
                  <c:v>3013.0590209382067</c:v>
                </c:pt>
                <c:pt idx="183" formatCode="0">
                  <c:v>3205.4393026730231</c:v>
                </c:pt>
                <c:pt idx="184" formatCode="0">
                  <c:v>3410.0316880299179</c:v>
                </c:pt>
                <c:pt idx="185" formatCode="0">
                  <c:v>3627.4705720022457</c:v>
                </c:pt>
                <c:pt idx="186" formatCode="0">
                  <c:v>3858.8661458283768</c:v>
                </c:pt>
                <c:pt idx="187" formatCode="0">
                  <c:v>4105.01140325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75</c:v>
                </c:pt>
                <c:pt idx="1">
                  <c:v>11</c:v>
                </c:pt>
                <c:pt idx="2">
                  <c:v>159</c:v>
                </c:pt>
                <c:pt idx="3">
                  <c:v>194</c:v>
                </c:pt>
                <c:pt idx="4">
                  <c:v>166</c:v>
                </c:pt>
                <c:pt idx="5">
                  <c:v>131</c:v>
                </c:pt>
                <c:pt idx="6">
                  <c:v>95</c:v>
                </c:pt>
                <c:pt idx="7">
                  <c:v>104</c:v>
                </c:pt>
                <c:pt idx="8">
                  <c:v>20</c:v>
                </c:pt>
                <c:pt idx="9">
                  <c:v>100</c:v>
                </c:pt>
                <c:pt idx="10">
                  <c:v>149</c:v>
                </c:pt>
                <c:pt idx="11">
                  <c:v>102</c:v>
                </c:pt>
                <c:pt idx="12">
                  <c:v>120</c:v>
                </c:pt>
                <c:pt idx="13">
                  <c:v>68</c:v>
                </c:pt>
                <c:pt idx="14">
                  <c:v>68</c:v>
                </c:pt>
                <c:pt idx="15">
                  <c:v>6</c:v>
                </c:pt>
                <c:pt idx="16">
                  <c:v>85</c:v>
                </c:pt>
                <c:pt idx="17">
                  <c:v>74</c:v>
                </c:pt>
                <c:pt idx="18">
                  <c:v>51</c:v>
                </c:pt>
                <c:pt idx="19">
                  <c:v>87</c:v>
                </c:pt>
                <c:pt idx="20">
                  <c:v>51</c:v>
                </c:pt>
                <c:pt idx="21">
                  <c:v>48</c:v>
                </c:pt>
                <c:pt idx="22">
                  <c:v>5</c:v>
                </c:pt>
                <c:pt idx="23">
                  <c:v>64</c:v>
                </c:pt>
                <c:pt idx="24">
                  <c:v>66</c:v>
                </c:pt>
                <c:pt idx="25">
                  <c:v>28</c:v>
                </c:pt>
                <c:pt idx="26">
                  <c:v>42</c:v>
                </c:pt>
                <c:pt idx="27">
                  <c:v>46</c:v>
                </c:pt>
                <c:pt idx="28">
                  <c:v>30</c:v>
                </c:pt>
                <c:pt idx="29">
                  <c:v>6</c:v>
                </c:pt>
                <c:pt idx="30">
                  <c:v>35</c:v>
                </c:pt>
                <c:pt idx="31">
                  <c:v>56</c:v>
                </c:pt>
                <c:pt idx="32">
                  <c:v>35</c:v>
                </c:pt>
                <c:pt idx="33">
                  <c:v>22</c:v>
                </c:pt>
                <c:pt idx="34">
                  <c:v>24</c:v>
                </c:pt>
                <c:pt idx="35">
                  <c:v>10</c:v>
                </c:pt>
                <c:pt idx="36">
                  <c:v>0</c:v>
                </c:pt>
                <c:pt idx="37">
                  <c:v>21</c:v>
                </c:pt>
                <c:pt idx="38">
                  <c:v>24</c:v>
                </c:pt>
                <c:pt idx="39">
                  <c:v>18</c:v>
                </c:pt>
                <c:pt idx="40">
                  <c:v>11</c:v>
                </c:pt>
                <c:pt idx="41">
                  <c:v>6</c:v>
                </c:pt>
                <c:pt idx="42">
                  <c:v>7</c:v>
                </c:pt>
                <c:pt idx="43">
                  <c:v>0</c:v>
                </c:pt>
                <c:pt idx="44">
                  <c:v>12</c:v>
                </c:pt>
                <c:pt idx="45">
                  <c:v>11</c:v>
                </c:pt>
                <c:pt idx="46">
                  <c:v>5</c:v>
                </c:pt>
                <c:pt idx="47">
                  <c:v>6</c:v>
                </c:pt>
                <c:pt idx="48">
                  <c:v>8</c:v>
                </c:pt>
                <c:pt idx="49">
                  <c:v>9</c:v>
                </c:pt>
                <c:pt idx="50">
                  <c:v>1</c:v>
                </c:pt>
                <c:pt idx="51">
                  <c:v>8</c:v>
                </c:pt>
                <c:pt idx="52">
                  <c:v>10</c:v>
                </c:pt>
                <c:pt idx="53">
                  <c:v>12</c:v>
                </c:pt>
                <c:pt idx="54">
                  <c:v>3</c:v>
                </c:pt>
                <c:pt idx="55">
                  <c:v>2</c:v>
                </c:pt>
                <c:pt idx="56">
                  <c:v>4</c:v>
                </c:pt>
                <c:pt idx="57">
                  <c:v>4</c:v>
                </c:pt>
                <c:pt idx="58">
                  <c:v>5</c:v>
                </c:pt>
                <c:pt idx="59">
                  <c:v>10</c:v>
                </c:pt>
                <c:pt idx="60">
                  <c:v>2</c:v>
                </c:pt>
                <c:pt idx="61">
                  <c:v>1</c:v>
                </c:pt>
                <c:pt idx="62">
                  <c:v>8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1</c:v>
                </c:pt>
                <c:pt idx="68">
                  <c:v>3</c:v>
                </c:pt>
                <c:pt idx="69">
                  <c:v>9</c:v>
                </c:pt>
                <c:pt idx="70">
                  <c:v>4</c:v>
                </c:pt>
                <c:pt idx="71">
                  <c:v>1</c:v>
                </c:pt>
                <c:pt idx="72">
                  <c:v>3</c:v>
                </c:pt>
                <c:pt idx="73">
                  <c:v>4</c:v>
                </c:pt>
                <c:pt idx="74">
                  <c:v>9</c:v>
                </c:pt>
                <c:pt idx="75">
                  <c:v>5</c:v>
                </c:pt>
                <c:pt idx="76">
                  <c:v>4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6</c:v>
                </c:pt>
                <c:pt idx="81">
                  <c:v>6</c:v>
                </c:pt>
                <c:pt idx="82">
                  <c:v>11</c:v>
                </c:pt>
                <c:pt idx="83">
                  <c:v>4</c:v>
                </c:pt>
                <c:pt idx="84">
                  <c:v>4</c:v>
                </c:pt>
                <c:pt idx="85">
                  <c:v>2</c:v>
                </c:pt>
                <c:pt idx="86">
                  <c:v>4</c:v>
                </c:pt>
                <c:pt idx="87">
                  <c:v>6</c:v>
                </c:pt>
                <c:pt idx="88">
                  <c:v>2</c:v>
                </c:pt>
                <c:pt idx="89">
                  <c:v>7</c:v>
                </c:pt>
                <c:pt idx="90">
                  <c:v>2</c:v>
                </c:pt>
                <c:pt idx="91">
                  <c:v>1</c:v>
                </c:pt>
                <c:pt idx="92">
                  <c:v>1</c:v>
                </c:pt>
                <c:pt idx="93">
                  <c:v>4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5</c:v>
                </c:pt>
                <c:pt idx="98">
                  <c:v>5</c:v>
                </c:pt>
                <c:pt idx="99">
                  <c:v>2</c:v>
                </c:pt>
                <c:pt idx="100">
                  <c:v>4</c:v>
                </c:pt>
                <c:pt idx="101">
                  <c:v>2</c:v>
                </c:pt>
                <c:pt idx="102">
                  <c:v>6</c:v>
                </c:pt>
                <c:pt idx="103">
                  <c:v>3</c:v>
                </c:pt>
                <c:pt idx="104">
                  <c:v>6</c:v>
                </c:pt>
                <c:pt idx="105">
                  <c:v>4</c:v>
                </c:pt>
                <c:pt idx="106">
                  <c:v>1</c:v>
                </c:pt>
                <c:pt idx="107">
                  <c:v>3</c:v>
                </c:pt>
                <c:pt idx="108">
                  <c:v>6</c:v>
                </c:pt>
                <c:pt idx="109">
                  <c:v>3</c:v>
                </c:pt>
                <c:pt idx="110">
                  <c:v>8</c:v>
                </c:pt>
                <c:pt idx="111">
                  <c:v>5</c:v>
                </c:pt>
                <c:pt idx="112">
                  <c:v>7</c:v>
                </c:pt>
                <c:pt idx="113">
                  <c:v>0</c:v>
                </c:pt>
                <c:pt idx="114">
                  <c:v>4</c:v>
                </c:pt>
                <c:pt idx="115">
                  <c:v>8</c:v>
                </c:pt>
                <c:pt idx="116">
                  <c:v>10</c:v>
                </c:pt>
                <c:pt idx="117">
                  <c:v>3</c:v>
                </c:pt>
                <c:pt idx="118">
                  <c:v>8</c:v>
                </c:pt>
                <c:pt idx="119">
                  <c:v>9</c:v>
                </c:pt>
                <c:pt idx="120">
                  <c:v>1</c:v>
                </c:pt>
                <c:pt idx="121">
                  <c:v>8</c:v>
                </c:pt>
                <c:pt idx="122">
                  <c:v>8</c:v>
                </c:pt>
                <c:pt idx="123">
                  <c:v>6</c:v>
                </c:pt>
                <c:pt idx="124">
                  <c:v>13</c:v>
                </c:pt>
                <c:pt idx="125">
                  <c:v>26</c:v>
                </c:pt>
                <c:pt idx="126">
                  <c:v>14</c:v>
                </c:pt>
                <c:pt idx="127">
                  <c:v>6</c:v>
                </c:pt>
                <c:pt idx="128">
                  <c:v>19</c:v>
                </c:pt>
                <c:pt idx="129">
                  <c:v>19</c:v>
                </c:pt>
                <c:pt idx="130">
                  <c:v>19</c:v>
                </c:pt>
                <c:pt idx="131">
                  <c:v>22</c:v>
                </c:pt>
                <c:pt idx="132">
                  <c:v>28</c:v>
                </c:pt>
                <c:pt idx="133">
                  <c:v>14</c:v>
                </c:pt>
                <c:pt idx="134">
                  <c:v>3</c:v>
                </c:pt>
                <c:pt idx="135">
                  <c:v>30</c:v>
                </c:pt>
                <c:pt idx="136">
                  <c:v>37</c:v>
                </c:pt>
                <c:pt idx="137">
                  <c:v>22</c:v>
                </c:pt>
                <c:pt idx="138">
                  <c:v>21</c:v>
                </c:pt>
                <c:pt idx="139">
                  <c:v>26</c:v>
                </c:pt>
                <c:pt idx="140">
                  <c:v>16</c:v>
                </c:pt>
                <c:pt idx="141">
                  <c:v>2</c:v>
                </c:pt>
                <c:pt idx="142">
                  <c:v>14</c:v>
                </c:pt>
                <c:pt idx="143">
                  <c:v>25</c:v>
                </c:pt>
                <c:pt idx="144">
                  <c:v>23</c:v>
                </c:pt>
                <c:pt idx="145">
                  <c:v>16</c:v>
                </c:pt>
                <c:pt idx="146">
                  <c:v>15</c:v>
                </c:pt>
                <c:pt idx="147">
                  <c:v>34</c:v>
                </c:pt>
                <c:pt idx="148">
                  <c:v>12</c:v>
                </c:pt>
                <c:pt idx="149">
                  <c:v>29</c:v>
                </c:pt>
                <c:pt idx="150">
                  <c:v>23</c:v>
                </c:pt>
                <c:pt idx="151">
                  <c:v>31</c:v>
                </c:pt>
                <c:pt idx="152">
                  <c:v>34</c:v>
                </c:pt>
                <c:pt idx="153">
                  <c:v>45</c:v>
                </c:pt>
                <c:pt idx="154">
                  <c:v>29</c:v>
                </c:pt>
                <c:pt idx="155">
                  <c:v>16</c:v>
                </c:pt>
                <c:pt idx="156">
                  <c:v>32</c:v>
                </c:pt>
                <c:pt idx="157">
                  <c:v>62</c:v>
                </c:pt>
                <c:pt idx="158">
                  <c:v>51</c:v>
                </c:pt>
                <c:pt idx="159">
                  <c:v>63</c:v>
                </c:pt>
                <c:pt idx="160">
                  <c:v>44</c:v>
                </c:pt>
                <c:pt idx="161">
                  <c:v>36</c:v>
                </c:pt>
                <c:pt idx="162">
                  <c:v>9</c:v>
                </c:pt>
                <c:pt idx="163">
                  <c:v>56</c:v>
                </c:pt>
                <c:pt idx="164">
                  <c:v>90</c:v>
                </c:pt>
                <c:pt idx="165">
                  <c:v>56</c:v>
                </c:pt>
                <c:pt idx="166">
                  <c:v>73</c:v>
                </c:pt>
                <c:pt idx="167">
                  <c:v>86</c:v>
                </c:pt>
                <c:pt idx="168">
                  <c:v>61</c:v>
                </c:pt>
                <c:pt idx="169">
                  <c:v>22</c:v>
                </c:pt>
                <c:pt idx="170">
                  <c:v>108</c:v>
                </c:pt>
                <c:pt idx="171">
                  <c:v>170</c:v>
                </c:pt>
                <c:pt idx="172">
                  <c:v>151</c:v>
                </c:pt>
                <c:pt idx="173">
                  <c:v>171</c:v>
                </c:pt>
                <c:pt idx="174">
                  <c:v>265</c:v>
                </c:pt>
                <c:pt idx="175">
                  <c:v>165</c:v>
                </c:pt>
                <c:pt idx="176">
                  <c:v>80</c:v>
                </c:pt>
                <c:pt idx="177">
                  <c:v>245</c:v>
                </c:pt>
                <c:pt idx="178">
                  <c:v>413</c:v>
                </c:pt>
                <c:pt idx="179">
                  <c:v>348</c:v>
                </c:pt>
                <c:pt idx="180">
                  <c:v>291</c:v>
                </c:pt>
                <c:pt idx="181">
                  <c:v>289</c:v>
                </c:pt>
                <c:pt idx="182">
                  <c:v>451</c:v>
                </c:pt>
                <c:pt idx="183">
                  <c:v>219</c:v>
                </c:pt>
                <c:pt idx="184">
                  <c:v>381</c:v>
                </c:pt>
                <c:pt idx="185">
                  <c:v>620</c:v>
                </c:pt>
                <c:pt idx="186">
                  <c:v>541</c:v>
                </c:pt>
                <c:pt idx="187">
                  <c:v>558</c:v>
                </c:pt>
                <c:pt idx="188">
                  <c:v>535</c:v>
                </c:pt>
                <c:pt idx="189">
                  <c:v>535</c:v>
                </c:pt>
                <c:pt idx="190">
                  <c:v>174</c:v>
                </c:pt>
                <c:pt idx="191">
                  <c:v>483</c:v>
                </c:pt>
                <c:pt idx="192">
                  <c:v>1004</c:v>
                </c:pt>
                <c:pt idx="193">
                  <c:v>930</c:v>
                </c:pt>
                <c:pt idx="194">
                  <c:v>544</c:v>
                </c:pt>
                <c:pt idx="195">
                  <c:v>983</c:v>
                </c:pt>
                <c:pt idx="196">
                  <c:v>795</c:v>
                </c:pt>
                <c:pt idx="197">
                  <c:v>375</c:v>
                </c:pt>
                <c:pt idx="198">
                  <c:v>652</c:v>
                </c:pt>
                <c:pt idx="199">
                  <c:v>1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38-4F6A-9204-1B45B90315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813</c:v>
                </c:pt>
                <c:pt idx="196">
                  <c:v>816</c:v>
                </c:pt>
                <c:pt idx="197">
                  <c:v>838</c:v>
                </c:pt>
                <c:pt idx="198">
                  <c:v>874</c:v>
                </c:pt>
                <c:pt idx="199">
                  <c:v>895</c:v>
                </c:pt>
                <c:pt idx="200">
                  <c:v>909</c:v>
                </c:pt>
                <c:pt idx="201">
                  <c:v>918</c:v>
                </c:pt>
                <c:pt idx="202">
                  <c:v>925</c:v>
                </c:pt>
                <c:pt idx="203">
                  <c:v>947</c:v>
                </c:pt>
                <c:pt idx="204">
                  <c:v>972</c:v>
                </c:pt>
                <c:pt idx="205">
                  <c:v>994</c:v>
                </c:pt>
                <c:pt idx="206">
                  <c:v>1008</c:v>
                </c:pt>
                <c:pt idx="207">
                  <c:v>1022</c:v>
                </c:pt>
                <c:pt idx="208">
                  <c:v>1039</c:v>
                </c:pt>
                <c:pt idx="209">
                  <c:v>1060</c:v>
                </c:pt>
                <c:pt idx="210">
                  <c:v>1082</c:v>
                </c:pt>
                <c:pt idx="211">
                  <c:v>1103</c:v>
                </c:pt>
                <c:pt idx="212">
                  <c:v>1121</c:v>
                </c:pt>
                <c:pt idx="213">
                  <c:v>1139</c:v>
                </c:pt>
                <c:pt idx="214">
                  <c:v>1160</c:v>
                </c:pt>
                <c:pt idx="215">
                  <c:v>1182</c:v>
                </c:pt>
                <c:pt idx="216">
                  <c:v>1205</c:v>
                </c:pt>
                <c:pt idx="217">
                  <c:v>1227</c:v>
                </c:pt>
                <c:pt idx="218">
                  <c:v>1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8-4F6A-9204-1B45B90315E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843</c:v>
                </c:pt>
                <c:pt idx="196">
                  <c:v>864</c:v>
                </c:pt>
                <c:pt idx="197">
                  <c:v>899</c:v>
                </c:pt>
                <c:pt idx="198">
                  <c:v>944</c:v>
                </c:pt>
                <c:pt idx="199">
                  <c:v>980</c:v>
                </c:pt>
                <c:pt idx="200">
                  <c:v>1012</c:v>
                </c:pt>
                <c:pt idx="201">
                  <c:v>1041</c:v>
                </c:pt>
                <c:pt idx="202">
                  <c:v>1071</c:v>
                </c:pt>
                <c:pt idx="203">
                  <c:v>1111</c:v>
                </c:pt>
                <c:pt idx="204">
                  <c:v>1155</c:v>
                </c:pt>
                <c:pt idx="205">
                  <c:v>1198</c:v>
                </c:pt>
                <c:pt idx="206">
                  <c:v>1236</c:v>
                </c:pt>
                <c:pt idx="207">
                  <c:v>1275</c:v>
                </c:pt>
                <c:pt idx="208">
                  <c:v>1318</c:v>
                </c:pt>
                <c:pt idx="209">
                  <c:v>1365</c:v>
                </c:pt>
                <c:pt idx="210">
                  <c:v>1414</c:v>
                </c:pt>
                <c:pt idx="211">
                  <c:v>1463</c:v>
                </c:pt>
                <c:pt idx="212">
                  <c:v>1512</c:v>
                </c:pt>
                <c:pt idx="213">
                  <c:v>1562</c:v>
                </c:pt>
                <c:pt idx="214">
                  <c:v>1616</c:v>
                </c:pt>
                <c:pt idx="215">
                  <c:v>1672</c:v>
                </c:pt>
                <c:pt idx="216">
                  <c:v>1731</c:v>
                </c:pt>
                <c:pt idx="217">
                  <c:v>1790</c:v>
                </c:pt>
                <c:pt idx="218">
                  <c:v>18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38-4F6A-9204-1B45B90315E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872</c:v>
                </c:pt>
                <c:pt idx="196">
                  <c:v>912</c:v>
                </c:pt>
                <c:pt idx="197">
                  <c:v>960</c:v>
                </c:pt>
                <c:pt idx="198">
                  <c:v>1015</c:v>
                </c:pt>
                <c:pt idx="199">
                  <c:v>1067</c:v>
                </c:pt>
                <c:pt idx="200">
                  <c:v>1119</c:v>
                </c:pt>
                <c:pt idx="201">
                  <c:v>1171</c:v>
                </c:pt>
                <c:pt idx="202">
                  <c:v>1226</c:v>
                </c:pt>
                <c:pt idx="203">
                  <c:v>1289</c:v>
                </c:pt>
                <c:pt idx="204">
                  <c:v>1356</c:v>
                </c:pt>
                <c:pt idx="205">
                  <c:v>1425</c:v>
                </c:pt>
                <c:pt idx="206">
                  <c:v>1494</c:v>
                </c:pt>
                <c:pt idx="207">
                  <c:v>1566</c:v>
                </c:pt>
                <c:pt idx="208">
                  <c:v>1643</c:v>
                </c:pt>
                <c:pt idx="209">
                  <c:v>1726</c:v>
                </c:pt>
                <c:pt idx="210">
                  <c:v>1813</c:v>
                </c:pt>
                <c:pt idx="211">
                  <c:v>1903</c:v>
                </c:pt>
                <c:pt idx="212">
                  <c:v>1996</c:v>
                </c:pt>
                <c:pt idx="213">
                  <c:v>2094</c:v>
                </c:pt>
                <c:pt idx="214">
                  <c:v>2197</c:v>
                </c:pt>
                <c:pt idx="215">
                  <c:v>2307</c:v>
                </c:pt>
                <c:pt idx="216">
                  <c:v>2421</c:v>
                </c:pt>
                <c:pt idx="217">
                  <c:v>2541</c:v>
                </c:pt>
                <c:pt idx="218">
                  <c:v>2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838-4F6A-9204-1B45B90315E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901</c:v>
                </c:pt>
                <c:pt idx="196">
                  <c:v>960</c:v>
                </c:pt>
                <c:pt idx="197">
                  <c:v>1021</c:v>
                </c:pt>
                <c:pt idx="198">
                  <c:v>1085</c:v>
                </c:pt>
                <c:pt idx="199">
                  <c:v>1155</c:v>
                </c:pt>
                <c:pt idx="200">
                  <c:v>1229</c:v>
                </c:pt>
                <c:pt idx="201">
                  <c:v>1308</c:v>
                </c:pt>
                <c:pt idx="202">
                  <c:v>1393</c:v>
                </c:pt>
                <c:pt idx="203">
                  <c:v>1482</c:v>
                </c:pt>
                <c:pt idx="204">
                  <c:v>1576</c:v>
                </c:pt>
                <c:pt idx="205">
                  <c:v>1676</c:v>
                </c:pt>
                <c:pt idx="206">
                  <c:v>1784</c:v>
                </c:pt>
                <c:pt idx="207">
                  <c:v>1898</c:v>
                </c:pt>
                <c:pt idx="208">
                  <c:v>2020</c:v>
                </c:pt>
                <c:pt idx="209">
                  <c:v>2148</c:v>
                </c:pt>
                <c:pt idx="210">
                  <c:v>2285</c:v>
                </c:pt>
                <c:pt idx="211">
                  <c:v>2431</c:v>
                </c:pt>
                <c:pt idx="212">
                  <c:v>2586</c:v>
                </c:pt>
                <c:pt idx="213">
                  <c:v>2752</c:v>
                </c:pt>
                <c:pt idx="214">
                  <c:v>2927</c:v>
                </c:pt>
                <c:pt idx="215">
                  <c:v>3114</c:v>
                </c:pt>
                <c:pt idx="216">
                  <c:v>3312</c:v>
                </c:pt>
                <c:pt idx="217">
                  <c:v>3523</c:v>
                </c:pt>
                <c:pt idx="218">
                  <c:v>3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  <c:min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15-44FD-973A-F27A14EC0B1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41.887957470794781</c:v>
                </c:pt>
                <c:pt idx="1">
                  <c:v>43.094606451434963</c:v>
                </c:pt>
                <c:pt idx="2">
                  <c:v>39.647037935320171</c:v>
                </c:pt>
                <c:pt idx="3">
                  <c:v>35.854712567593893</c:v>
                </c:pt>
                <c:pt idx="4">
                  <c:v>32.407144051479094</c:v>
                </c:pt>
                <c:pt idx="5">
                  <c:v>31.372873496644651</c:v>
                </c:pt>
                <c:pt idx="6">
                  <c:v>28.959575535364294</c:v>
                </c:pt>
                <c:pt idx="7">
                  <c:v>23.44346590958062</c:v>
                </c:pt>
                <c:pt idx="8">
                  <c:v>20.513032670883042</c:v>
                </c:pt>
                <c:pt idx="9">
                  <c:v>18.616869987019903</c:v>
                </c:pt>
                <c:pt idx="10">
                  <c:v>15.514058322516586</c:v>
                </c:pt>
                <c:pt idx="11">
                  <c:v>14.996923045099367</c:v>
                </c:pt>
                <c:pt idx="12">
                  <c:v>14.996923045099367</c:v>
                </c:pt>
                <c:pt idx="13">
                  <c:v>13.44551721284771</c:v>
                </c:pt>
                <c:pt idx="14">
                  <c:v>11.204597677373091</c:v>
                </c:pt>
                <c:pt idx="15">
                  <c:v>8.9636781418984732</c:v>
                </c:pt>
                <c:pt idx="16">
                  <c:v>8.1017860128697734</c:v>
                </c:pt>
                <c:pt idx="17">
                  <c:v>8.4465428644812519</c:v>
                </c:pt>
                <c:pt idx="18">
                  <c:v>8.7912997160927322</c:v>
                </c:pt>
                <c:pt idx="19">
                  <c:v>8.9636781418984732</c:v>
                </c:pt>
                <c:pt idx="20">
                  <c:v>8.2741644386755144</c:v>
                </c:pt>
                <c:pt idx="21">
                  <c:v>8.1017860128697734</c:v>
                </c:pt>
                <c:pt idx="22">
                  <c:v>9.3084349935099517</c:v>
                </c:pt>
                <c:pt idx="23">
                  <c:v>8.7912997160927322</c:v>
                </c:pt>
                <c:pt idx="24">
                  <c:v>7.7570291612582931</c:v>
                </c:pt>
                <c:pt idx="25">
                  <c:v>6.8951370322295942</c:v>
                </c:pt>
                <c:pt idx="26">
                  <c:v>7.4122723096468137</c:v>
                </c:pt>
                <c:pt idx="27">
                  <c:v>6.8951370322295942</c:v>
                </c:pt>
                <c:pt idx="28">
                  <c:v>6.8951370322295942</c:v>
                </c:pt>
                <c:pt idx="29">
                  <c:v>5.1713527741721954</c:v>
                </c:pt>
                <c:pt idx="30">
                  <c:v>4.826595922560716</c:v>
                </c:pt>
                <c:pt idx="31">
                  <c:v>5.8608664773951551</c:v>
                </c:pt>
                <c:pt idx="32">
                  <c:v>5.3437311999779356</c:v>
                </c:pt>
                <c:pt idx="33">
                  <c:v>4.6542174967549759</c:v>
                </c:pt>
                <c:pt idx="34">
                  <c:v>3.7923253677262765</c:v>
                </c:pt>
                <c:pt idx="35">
                  <c:v>2.0685411096688786</c:v>
                </c:pt>
                <c:pt idx="36">
                  <c:v>3.6199469419205368</c:v>
                </c:pt>
                <c:pt idx="37">
                  <c:v>3.9647037935320171</c:v>
                </c:pt>
                <c:pt idx="38">
                  <c:v>4.1370822193377572</c:v>
                </c:pt>
                <c:pt idx="39">
                  <c:v>4.6542174967549759</c:v>
                </c:pt>
                <c:pt idx="40">
                  <c:v>4.826595922560716</c:v>
                </c:pt>
                <c:pt idx="41">
                  <c:v>5.3437311999779356</c:v>
                </c:pt>
                <c:pt idx="42">
                  <c:v>6.0332449032008943</c:v>
                </c:pt>
                <c:pt idx="43">
                  <c:v>5.688488051589415</c:v>
                </c:pt>
                <c:pt idx="44">
                  <c:v>6.0332449032008943</c:v>
                </c:pt>
                <c:pt idx="45">
                  <c:v>5.1713527741721954</c:v>
                </c:pt>
                <c:pt idx="46">
                  <c:v>5.3437311999779356</c:v>
                </c:pt>
                <c:pt idx="47">
                  <c:v>5.5161096257836757</c:v>
                </c:pt>
                <c:pt idx="48">
                  <c:v>5.688488051589415</c:v>
                </c:pt>
                <c:pt idx="49">
                  <c:v>6.0332449032008943</c:v>
                </c:pt>
                <c:pt idx="50">
                  <c:v>5.5161096257836757</c:v>
                </c:pt>
                <c:pt idx="51">
                  <c:v>6.5503801806181139</c:v>
                </c:pt>
                <c:pt idx="52">
                  <c:v>6.5503801806181139</c:v>
                </c:pt>
                <c:pt idx="53">
                  <c:v>6.3780017548123746</c:v>
                </c:pt>
                <c:pt idx="54">
                  <c:v>6.3780017548123746</c:v>
                </c:pt>
                <c:pt idx="55">
                  <c:v>6.3780017548123746</c:v>
                </c:pt>
                <c:pt idx="56">
                  <c:v>6.3780017548123746</c:v>
                </c:pt>
                <c:pt idx="57">
                  <c:v>5.688488051589415</c:v>
                </c:pt>
                <c:pt idx="58">
                  <c:v>4.9989743483664562</c:v>
                </c:pt>
                <c:pt idx="59">
                  <c:v>4.6542174967549759</c:v>
                </c:pt>
                <c:pt idx="60">
                  <c:v>4.1370822193377572</c:v>
                </c:pt>
                <c:pt idx="61">
                  <c:v>3.9647037935320171</c:v>
                </c:pt>
                <c:pt idx="62">
                  <c:v>3.9647037935320171</c:v>
                </c:pt>
                <c:pt idx="63">
                  <c:v>3.2751900903090569</c:v>
                </c:pt>
                <c:pt idx="64">
                  <c:v>3.4475685161147971</c:v>
                </c:pt>
                <c:pt idx="65">
                  <c:v>2.7580548128918378</c:v>
                </c:pt>
                <c:pt idx="66">
                  <c:v>3.2751900903090569</c:v>
                </c:pt>
                <c:pt idx="67">
                  <c:v>3.9647037935320171</c:v>
                </c:pt>
                <c:pt idx="68">
                  <c:v>4.1370822193377572</c:v>
                </c:pt>
                <c:pt idx="69">
                  <c:v>4.1370822193377572</c:v>
                </c:pt>
                <c:pt idx="70">
                  <c:v>4.1370822193377572</c:v>
                </c:pt>
                <c:pt idx="71">
                  <c:v>4.6542174967549759</c:v>
                </c:pt>
                <c:pt idx="72">
                  <c:v>4.6542174967549759</c:v>
                </c:pt>
                <c:pt idx="73">
                  <c:v>4.826595922560716</c:v>
                </c:pt>
                <c:pt idx="74">
                  <c:v>4.6542174967549759</c:v>
                </c:pt>
                <c:pt idx="75">
                  <c:v>4.4818390709492366</c:v>
                </c:pt>
                <c:pt idx="76">
                  <c:v>4.3094606451434965</c:v>
                </c:pt>
                <c:pt idx="77">
                  <c:v>4.9989743483664562</c:v>
                </c:pt>
                <c:pt idx="78">
                  <c:v>4.4818390709492366</c:v>
                </c:pt>
                <c:pt idx="79">
                  <c:v>5.3437311999779356</c:v>
                </c:pt>
                <c:pt idx="80">
                  <c:v>5.1713527741721954</c:v>
                </c:pt>
                <c:pt idx="81">
                  <c:v>5.688488051589415</c:v>
                </c:pt>
                <c:pt idx="82">
                  <c:v>5.5161096257836757</c:v>
                </c:pt>
                <c:pt idx="83">
                  <c:v>5.688488051589415</c:v>
                </c:pt>
                <c:pt idx="84">
                  <c:v>6.0332449032008943</c:v>
                </c:pt>
                <c:pt idx="85">
                  <c:v>7.2398938838410736</c:v>
                </c:pt>
                <c:pt idx="86">
                  <c:v>6.3780017548123746</c:v>
                </c:pt>
                <c:pt idx="87">
                  <c:v>6.8951370322295942</c:v>
                </c:pt>
                <c:pt idx="88">
                  <c:v>7.2398938838410736</c:v>
                </c:pt>
                <c:pt idx="89">
                  <c:v>7.4122723096468137</c:v>
                </c:pt>
                <c:pt idx="90">
                  <c:v>8.1017860128697734</c:v>
                </c:pt>
                <c:pt idx="91">
                  <c:v>8.1017860128697734</c:v>
                </c:pt>
                <c:pt idx="92">
                  <c:v>7.4122723096468137</c:v>
                </c:pt>
                <c:pt idx="93">
                  <c:v>9.1360565677042125</c:v>
                </c:pt>
                <c:pt idx="94">
                  <c:v>12.23886823220753</c:v>
                </c:pt>
                <c:pt idx="95">
                  <c:v>13.100760361236228</c:v>
                </c:pt>
                <c:pt idx="96">
                  <c:v>13.962652490264929</c:v>
                </c:pt>
                <c:pt idx="97">
                  <c:v>15.858815174128068</c:v>
                </c:pt>
                <c:pt idx="98">
                  <c:v>17.754977857991204</c:v>
                </c:pt>
                <c:pt idx="99">
                  <c:v>19.995897393465825</c:v>
                </c:pt>
                <c:pt idx="100">
                  <c:v>21.547303225717481</c:v>
                </c:pt>
                <c:pt idx="101">
                  <c:v>21.892060077328964</c:v>
                </c:pt>
                <c:pt idx="102">
                  <c:v>21.892060077328964</c:v>
                </c:pt>
                <c:pt idx="103">
                  <c:v>21.374924799911742</c:v>
                </c:pt>
                <c:pt idx="104">
                  <c:v>23.271087483774881</c:v>
                </c:pt>
                <c:pt idx="105">
                  <c:v>26.373899148278195</c:v>
                </c:pt>
                <c:pt idx="106">
                  <c:v>26.89103442569542</c:v>
                </c:pt>
                <c:pt idx="107">
                  <c:v>26.71865599988968</c:v>
                </c:pt>
                <c:pt idx="108">
                  <c:v>26.373899148278195</c:v>
                </c:pt>
                <c:pt idx="109">
                  <c:v>26.71865599988968</c:v>
                </c:pt>
                <c:pt idx="110">
                  <c:v>26.546277574083941</c:v>
                </c:pt>
                <c:pt idx="111">
                  <c:v>23.788222761192102</c:v>
                </c:pt>
                <c:pt idx="112">
                  <c:v>21.719681651523224</c:v>
                </c:pt>
                <c:pt idx="113">
                  <c:v>21.892060077328964</c:v>
                </c:pt>
                <c:pt idx="114">
                  <c:v>21.030167948300264</c:v>
                </c:pt>
                <c:pt idx="115">
                  <c:v>19.134005264437125</c:v>
                </c:pt>
                <c:pt idx="116">
                  <c:v>22.236816928940442</c:v>
                </c:pt>
                <c:pt idx="117">
                  <c:v>23.960601186997838</c:v>
                </c:pt>
                <c:pt idx="118">
                  <c:v>26.546277574083941</c:v>
                </c:pt>
                <c:pt idx="119">
                  <c:v>26.201520722472456</c:v>
                </c:pt>
                <c:pt idx="120">
                  <c:v>27.580548128918377</c:v>
                </c:pt>
                <c:pt idx="121">
                  <c:v>30.683359793421698</c:v>
                </c:pt>
                <c:pt idx="122">
                  <c:v>35.854712567593893</c:v>
                </c:pt>
                <c:pt idx="123">
                  <c:v>34.99282043856519</c:v>
                </c:pt>
                <c:pt idx="124">
                  <c:v>35.682334141788154</c:v>
                </c:pt>
                <c:pt idx="125">
                  <c:v>36.199469419205371</c:v>
                </c:pt>
                <c:pt idx="126">
                  <c:v>42.922228025629224</c:v>
                </c:pt>
                <c:pt idx="127">
                  <c:v>46.369796541744023</c:v>
                </c:pt>
                <c:pt idx="128">
                  <c:v>51.368770890110476</c:v>
                </c:pt>
                <c:pt idx="129">
                  <c:v>51.196392464304736</c:v>
                </c:pt>
                <c:pt idx="130">
                  <c:v>52.403041444944911</c:v>
                </c:pt>
                <c:pt idx="131">
                  <c:v>51.196392464304736</c:v>
                </c:pt>
                <c:pt idx="132">
                  <c:v>55.333474683642493</c:v>
                </c:pt>
                <c:pt idx="133">
                  <c:v>60.160070606203206</c:v>
                </c:pt>
                <c:pt idx="134">
                  <c:v>61.021962735231916</c:v>
                </c:pt>
                <c:pt idx="135">
                  <c:v>62.745746993289302</c:v>
                </c:pt>
                <c:pt idx="136">
                  <c:v>69.985640877130379</c:v>
                </c:pt>
                <c:pt idx="137">
                  <c:v>74.295101522273882</c:v>
                </c:pt>
                <c:pt idx="138">
                  <c:v>76.536021057748499</c:v>
                </c:pt>
                <c:pt idx="139">
                  <c:v>85.499699199646969</c:v>
                </c:pt>
                <c:pt idx="140">
                  <c:v>99.289973264106152</c:v>
                </c:pt>
                <c:pt idx="141">
                  <c:v>115.66592371565145</c:v>
                </c:pt>
                <c:pt idx="142">
                  <c:v>132.55900944461393</c:v>
                </c:pt>
                <c:pt idx="143">
                  <c:v>163.41474766384138</c:v>
                </c:pt>
                <c:pt idx="144">
                  <c:v>181.34210394763832</c:v>
                </c:pt>
                <c:pt idx="145">
                  <c:v>191.34005264437124</c:v>
                </c:pt>
                <c:pt idx="146">
                  <c:v>214.95589697975763</c:v>
                </c:pt>
                <c:pt idx="147">
                  <c:v>256.84385445055239</c:v>
                </c:pt>
                <c:pt idx="148">
                  <c:v>290.80240433428315</c:v>
                </c:pt>
                <c:pt idx="149">
                  <c:v>311.48781543097192</c:v>
                </c:pt>
                <c:pt idx="150">
                  <c:v>315.62489765030966</c:v>
                </c:pt>
                <c:pt idx="151">
                  <c:v>364.92512743075127</c:v>
                </c:pt>
                <c:pt idx="152">
                  <c:v>388.88572861774912</c:v>
                </c:pt>
                <c:pt idx="153">
                  <c:v>412.32919452732972</c:v>
                </c:pt>
                <c:pt idx="154">
                  <c:v>448.01152866911792</c:v>
                </c:pt>
                <c:pt idx="155">
                  <c:v>481.28056484962565</c:v>
                </c:pt>
                <c:pt idx="156">
                  <c:v>527.30560453975818</c:v>
                </c:pt>
                <c:pt idx="157">
                  <c:v>569.71069728797022</c:v>
                </c:pt>
                <c:pt idx="158">
                  <c:v>584.1904850556524</c:v>
                </c:pt>
                <c:pt idx="159">
                  <c:v>576.43345589439411</c:v>
                </c:pt>
                <c:pt idx="160">
                  <c:v>594.01605532657948</c:v>
                </c:pt>
                <c:pt idx="161">
                  <c:v>660.20937083598369</c:v>
                </c:pt>
                <c:pt idx="162">
                  <c:v>727.26457847441645</c:v>
                </c:pt>
                <c:pt idx="163">
                  <c:v>724.85128051313609</c:v>
                </c:pt>
                <c:pt idx="164">
                  <c:v>802.07681527410762</c:v>
                </c:pt>
                <c:pt idx="165">
                  <c:v>846.89520598359991</c:v>
                </c:pt>
                <c:pt idx="166">
                  <c:v>881.54326957055366</c:v>
                </c:pt>
                <c:pt idx="167">
                  <c:v>910.67522353172376</c:v>
                </c:pt>
                <c:pt idx="168">
                  <c:v>1029.7887157634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15-44FD-973A-F27A14EC0B1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737.77966244856657</c:v>
                </c:pt>
                <c:pt idx="165" formatCode="0">
                  <c:v>761.56788520975863</c:v>
                </c:pt>
                <c:pt idx="166" formatCode="0">
                  <c:v>782.94281000967044</c:v>
                </c:pt>
                <c:pt idx="167" formatCode="0">
                  <c:v>803.45584268055347</c:v>
                </c:pt>
                <c:pt idx="168" formatCode="0">
                  <c:v>820.69368526112748</c:v>
                </c:pt>
                <c:pt idx="169" formatCode="0">
                  <c:v>833.27731034494639</c:v>
                </c:pt>
                <c:pt idx="170" formatCode="0">
                  <c:v>840.17244737717613</c:v>
                </c:pt>
                <c:pt idx="171" formatCode="0">
                  <c:v>852.41131560938356</c:v>
                </c:pt>
                <c:pt idx="172" formatCode="0">
                  <c:v>870.51105031898635</c:v>
                </c:pt>
                <c:pt idx="173" formatCode="0">
                  <c:v>888.95554188020037</c:v>
                </c:pt>
                <c:pt idx="174" formatCode="0">
                  <c:v>905.50387075755157</c:v>
                </c:pt>
                <c:pt idx="175" formatCode="0">
                  <c:v>921.01792908006814</c:v>
                </c:pt>
                <c:pt idx="176" formatCode="0">
                  <c:v>936.53198740258472</c:v>
                </c:pt>
                <c:pt idx="177" formatCode="0">
                  <c:v>953.25269470574142</c:v>
                </c:pt>
                <c:pt idx="178" formatCode="0">
                  <c:v>971.86956469276129</c:v>
                </c:pt>
                <c:pt idx="179" formatCode="0">
                  <c:v>990.658813105587</c:v>
                </c:pt>
                <c:pt idx="180" formatCode="0">
                  <c:v>1008.7585478151897</c:v>
                </c:pt>
                <c:pt idx="181" formatCode="0">
                  <c:v>1026.3411472473751</c:v>
                </c:pt>
                <c:pt idx="182" formatCode="0">
                  <c:v>1044.4408819569778</c:v>
                </c:pt>
                <c:pt idx="183" formatCode="0">
                  <c:v>1063.5748872214149</c:v>
                </c:pt>
                <c:pt idx="184" formatCode="0">
                  <c:v>1083.3984061890751</c:v>
                </c:pt>
                <c:pt idx="185" formatCode="0">
                  <c:v>1103.3943035825407</c:v>
                </c:pt>
                <c:pt idx="186" formatCode="0">
                  <c:v>1123.2178225502009</c:v>
                </c:pt>
                <c:pt idx="187" formatCode="0">
                  <c:v>1143.38609836947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115-44FD-973A-F27A14EC0B1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741.91674466790437</c:v>
                </c:pt>
                <c:pt idx="165" formatCode="0">
                  <c:v>772.42772603552021</c:v>
                </c:pt>
                <c:pt idx="166" formatCode="0">
                  <c:v>802.24919369991323</c:v>
                </c:pt>
                <c:pt idx="167" formatCode="0">
                  <c:v>832.41541821591773</c:v>
                </c:pt>
                <c:pt idx="168" formatCode="0">
                  <c:v>861.37499375128209</c:v>
                </c:pt>
                <c:pt idx="169" formatCode="0">
                  <c:v>888.09364975117171</c:v>
                </c:pt>
                <c:pt idx="170" formatCode="0">
                  <c:v>912.0542509381695</c:v>
                </c:pt>
                <c:pt idx="171" formatCode="0">
                  <c:v>940.15193434450521</c:v>
                </c:pt>
                <c:pt idx="172" formatCode="0">
                  <c:v>974.28286265404165</c:v>
                </c:pt>
                <c:pt idx="173" formatCode="0">
                  <c:v>1009.6204399442183</c:v>
                </c:pt>
                <c:pt idx="174" formatCode="0">
                  <c:v>1044.6132603827834</c:v>
                </c:pt>
                <c:pt idx="175" formatCode="0">
                  <c:v>1079.9508376729602</c:v>
                </c:pt>
                <c:pt idx="176" formatCode="0">
                  <c:v>1116.3226855179714</c:v>
                </c:pt>
                <c:pt idx="177" formatCode="0">
                  <c:v>1154.4183176210399</c:v>
                </c:pt>
                <c:pt idx="178" formatCode="0">
                  <c:v>1195.0996261111945</c:v>
                </c:pt>
                <c:pt idx="179" formatCode="0">
                  <c:v>1236.9875835819892</c:v>
                </c:pt>
                <c:pt idx="180" formatCode="0">
                  <c:v>1279.5650547560069</c:v>
                </c:pt>
                <c:pt idx="181" formatCode="0">
                  <c:v>1323.0044180590535</c:v>
                </c:pt>
                <c:pt idx="182" formatCode="0">
                  <c:v>1367.9951871943515</c:v>
                </c:pt>
                <c:pt idx="183" formatCode="0">
                  <c:v>1415.0544974393185</c:v>
                </c:pt>
                <c:pt idx="184" formatCode="0">
                  <c:v>1464.0099703681487</c:v>
                </c:pt>
                <c:pt idx="185" formatCode="0">
                  <c:v>1514.5168491292304</c:v>
                </c:pt>
                <c:pt idx="186" formatCode="0">
                  <c:v>1566.2303768709521</c:v>
                </c:pt>
                <c:pt idx="187" formatCode="0">
                  <c:v>1619.6676888707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15-44FD-973A-F27A14EC0B1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746.22620531304779</c:v>
                </c:pt>
                <c:pt idx="165" formatCode="0">
                  <c:v>783.2875668612819</c:v>
                </c:pt>
                <c:pt idx="166" formatCode="0">
                  <c:v>821.55557739015615</c:v>
                </c:pt>
                <c:pt idx="167" formatCode="0">
                  <c:v>861.54737217708782</c:v>
                </c:pt>
                <c:pt idx="168" formatCode="0">
                  <c:v>902.40105909304827</c:v>
                </c:pt>
                <c:pt idx="169" formatCode="0">
                  <c:v>943.94425971223143</c:v>
                </c:pt>
                <c:pt idx="170" formatCode="0">
                  <c:v>985.83221718302627</c:v>
                </c:pt>
                <c:pt idx="171" formatCode="0">
                  <c:v>1031.1677431699359</c:v>
                </c:pt>
                <c:pt idx="172" formatCode="0">
                  <c:v>1083.3984061890751</c:v>
                </c:pt>
                <c:pt idx="173" formatCode="0">
                  <c:v>1138.0423671694946</c:v>
                </c:pt>
                <c:pt idx="174" formatCode="0">
                  <c:v>1194.5824908337772</c:v>
                </c:pt>
                <c:pt idx="175" formatCode="0">
                  <c:v>1253.5359124593404</c:v>
                </c:pt>
                <c:pt idx="176" formatCode="0">
                  <c:v>1315.2473888977952</c:v>
                </c:pt>
                <c:pt idx="177" formatCode="0">
                  <c:v>1380.4064338523649</c:v>
                </c:pt>
                <c:pt idx="178" formatCode="0">
                  <c:v>1449.3578041746607</c:v>
                </c:pt>
                <c:pt idx="179" formatCode="0">
                  <c:v>1521.5843645872658</c:v>
                </c:pt>
                <c:pt idx="180" formatCode="0">
                  <c:v>1597.0861150901796</c:v>
                </c:pt>
                <c:pt idx="181" formatCode="0">
                  <c:v>1675.863055683403</c:v>
                </c:pt>
                <c:pt idx="182" formatCode="0">
                  <c:v>1758.7770784959639</c:v>
                </c:pt>
                <c:pt idx="183" formatCode="0">
                  <c:v>1846.000561953668</c:v>
                </c:pt>
                <c:pt idx="184" formatCode="0">
                  <c:v>1937.533506056516</c:v>
                </c:pt>
                <c:pt idx="185" formatCode="0">
                  <c:v>2033.5482892303132</c:v>
                </c:pt>
                <c:pt idx="186" formatCode="0">
                  <c:v>2134.0449114750595</c:v>
                </c:pt>
                <c:pt idx="187" formatCode="0">
                  <c:v>2239.3681296423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115-44FD-973A-F27A14EC0B1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750.36328753238558</c:v>
                </c:pt>
                <c:pt idx="165" formatCode="0">
                  <c:v>794.1474076870436</c:v>
                </c:pt>
                <c:pt idx="166" formatCode="0">
                  <c:v>840.86196108039894</c:v>
                </c:pt>
                <c:pt idx="167" formatCode="0">
                  <c:v>890.50694771245207</c:v>
                </c:pt>
                <c:pt idx="168" formatCode="0">
                  <c:v>943.59950286061996</c:v>
                </c:pt>
                <c:pt idx="169" formatCode="0">
                  <c:v>1000.3120049507083</c:v>
                </c:pt>
                <c:pt idx="170" formatCode="0">
                  <c:v>1061.1615892601344</c:v>
                </c:pt>
                <c:pt idx="171" formatCode="0">
                  <c:v>1125.4587420856756</c:v>
                </c:pt>
                <c:pt idx="172" formatCode="0">
                  <c:v>1197.3405456466689</c:v>
                </c:pt>
                <c:pt idx="173" formatCode="0">
                  <c:v>1273.8765667044177</c:v>
                </c:pt>
                <c:pt idx="174" formatCode="0">
                  <c:v>1355.4115621105325</c:v>
                </c:pt>
                <c:pt idx="175" formatCode="0">
                  <c:v>1442.2902887166254</c:v>
                </c:pt>
                <c:pt idx="176" formatCode="0">
                  <c:v>1534.6851249485019</c:v>
                </c:pt>
                <c:pt idx="177" formatCode="0">
                  <c:v>1632.7684492319679</c:v>
                </c:pt>
                <c:pt idx="178" formatCode="0">
                  <c:v>1736.8850184186349</c:v>
                </c:pt>
                <c:pt idx="179" formatCode="0">
                  <c:v>1847.8967246375312</c:v>
                </c:pt>
                <c:pt idx="180" formatCode="0">
                  <c:v>1965.9759463144628</c:v>
                </c:pt>
                <c:pt idx="181" formatCode="0">
                  <c:v>2091.6398187268474</c:v>
                </c:pt>
                <c:pt idx="182" formatCode="0">
                  <c:v>2225.2330987262958</c:v>
                </c:pt>
                <c:pt idx="183" formatCode="0">
                  <c:v>2367.2729215902255</c:v>
                </c:pt>
                <c:pt idx="184" formatCode="0">
                  <c:v>2518.4488010218593</c:v>
                </c:pt>
                <c:pt idx="185" formatCode="0">
                  <c:v>2679.1054938728089</c:v>
                </c:pt>
                <c:pt idx="186" formatCode="0">
                  <c:v>2850.1048922721029</c:v>
                </c:pt>
                <c:pt idx="187" formatCode="0">
                  <c:v>3031.9641314971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60</c:v>
                </c:pt>
                <c:pt idx="1">
                  <c:v>68</c:v>
                </c:pt>
                <c:pt idx="2">
                  <c:v>328</c:v>
                </c:pt>
                <c:pt idx="3">
                  <c:v>351</c:v>
                </c:pt>
                <c:pt idx="4">
                  <c:v>277</c:v>
                </c:pt>
                <c:pt idx="5">
                  <c:v>212</c:v>
                </c:pt>
                <c:pt idx="6">
                  <c:v>236</c:v>
                </c:pt>
                <c:pt idx="7">
                  <c:v>131</c:v>
                </c:pt>
                <c:pt idx="8">
                  <c:v>55</c:v>
                </c:pt>
                <c:pt idx="9">
                  <c:v>300</c:v>
                </c:pt>
                <c:pt idx="10">
                  <c:v>254</c:v>
                </c:pt>
                <c:pt idx="11">
                  <c:v>165</c:v>
                </c:pt>
                <c:pt idx="12">
                  <c:v>242</c:v>
                </c:pt>
                <c:pt idx="13">
                  <c:v>175</c:v>
                </c:pt>
                <c:pt idx="14">
                  <c:v>96</c:v>
                </c:pt>
                <c:pt idx="15">
                  <c:v>44</c:v>
                </c:pt>
                <c:pt idx="16">
                  <c:v>162</c:v>
                </c:pt>
                <c:pt idx="17">
                  <c:v>211</c:v>
                </c:pt>
                <c:pt idx="18">
                  <c:v>109</c:v>
                </c:pt>
                <c:pt idx="19">
                  <c:v>115</c:v>
                </c:pt>
                <c:pt idx="20">
                  <c:v>81</c:v>
                </c:pt>
                <c:pt idx="21">
                  <c:v>73</c:v>
                </c:pt>
                <c:pt idx="22">
                  <c:v>27</c:v>
                </c:pt>
                <c:pt idx="23">
                  <c:v>124</c:v>
                </c:pt>
                <c:pt idx="24">
                  <c:v>95</c:v>
                </c:pt>
                <c:pt idx="25">
                  <c:v>81</c:v>
                </c:pt>
                <c:pt idx="26">
                  <c:v>82</c:v>
                </c:pt>
                <c:pt idx="27">
                  <c:v>52</c:v>
                </c:pt>
                <c:pt idx="28">
                  <c:v>23</c:v>
                </c:pt>
                <c:pt idx="29">
                  <c:v>22</c:v>
                </c:pt>
                <c:pt idx="30">
                  <c:v>68</c:v>
                </c:pt>
                <c:pt idx="31">
                  <c:v>78</c:v>
                </c:pt>
                <c:pt idx="32">
                  <c:v>49</c:v>
                </c:pt>
                <c:pt idx="33">
                  <c:v>54</c:v>
                </c:pt>
                <c:pt idx="34">
                  <c:v>43</c:v>
                </c:pt>
                <c:pt idx="35">
                  <c:v>19</c:v>
                </c:pt>
                <c:pt idx="36">
                  <c:v>10</c:v>
                </c:pt>
                <c:pt idx="37">
                  <c:v>46</c:v>
                </c:pt>
                <c:pt idx="38">
                  <c:v>35</c:v>
                </c:pt>
                <c:pt idx="39">
                  <c:v>36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7</c:v>
                </c:pt>
                <c:pt idx="44">
                  <c:v>16</c:v>
                </c:pt>
                <c:pt idx="45">
                  <c:v>24</c:v>
                </c:pt>
                <c:pt idx="46">
                  <c:v>14</c:v>
                </c:pt>
                <c:pt idx="47">
                  <c:v>25</c:v>
                </c:pt>
                <c:pt idx="48">
                  <c:v>15</c:v>
                </c:pt>
                <c:pt idx="49">
                  <c:v>5</c:v>
                </c:pt>
                <c:pt idx="50">
                  <c:v>6</c:v>
                </c:pt>
                <c:pt idx="51">
                  <c:v>17</c:v>
                </c:pt>
                <c:pt idx="52">
                  <c:v>15</c:v>
                </c:pt>
                <c:pt idx="53">
                  <c:v>16</c:v>
                </c:pt>
                <c:pt idx="54">
                  <c:v>7</c:v>
                </c:pt>
                <c:pt idx="55">
                  <c:v>15</c:v>
                </c:pt>
                <c:pt idx="56">
                  <c:v>6</c:v>
                </c:pt>
                <c:pt idx="57">
                  <c:v>5</c:v>
                </c:pt>
                <c:pt idx="58">
                  <c:v>16</c:v>
                </c:pt>
                <c:pt idx="59">
                  <c:v>18</c:v>
                </c:pt>
                <c:pt idx="60">
                  <c:v>12</c:v>
                </c:pt>
                <c:pt idx="61">
                  <c:v>15</c:v>
                </c:pt>
                <c:pt idx="62">
                  <c:v>15</c:v>
                </c:pt>
                <c:pt idx="63">
                  <c:v>13</c:v>
                </c:pt>
                <c:pt idx="64">
                  <c:v>0</c:v>
                </c:pt>
                <c:pt idx="65">
                  <c:v>8</c:v>
                </c:pt>
                <c:pt idx="66">
                  <c:v>4</c:v>
                </c:pt>
                <c:pt idx="67">
                  <c:v>21</c:v>
                </c:pt>
                <c:pt idx="68">
                  <c:v>10</c:v>
                </c:pt>
                <c:pt idx="69">
                  <c:v>23</c:v>
                </c:pt>
                <c:pt idx="70">
                  <c:v>10</c:v>
                </c:pt>
                <c:pt idx="71">
                  <c:v>9</c:v>
                </c:pt>
                <c:pt idx="72">
                  <c:v>17</c:v>
                </c:pt>
                <c:pt idx="73">
                  <c:v>27</c:v>
                </c:pt>
                <c:pt idx="74">
                  <c:v>7</c:v>
                </c:pt>
                <c:pt idx="75">
                  <c:v>4</c:v>
                </c:pt>
                <c:pt idx="76">
                  <c:v>18</c:v>
                </c:pt>
                <c:pt idx="77">
                  <c:v>10</c:v>
                </c:pt>
                <c:pt idx="78">
                  <c:v>8</c:v>
                </c:pt>
                <c:pt idx="79">
                  <c:v>16</c:v>
                </c:pt>
                <c:pt idx="80">
                  <c:v>18</c:v>
                </c:pt>
                <c:pt idx="81">
                  <c:v>17</c:v>
                </c:pt>
                <c:pt idx="82">
                  <c:v>11</c:v>
                </c:pt>
                <c:pt idx="83">
                  <c:v>10</c:v>
                </c:pt>
                <c:pt idx="84">
                  <c:v>4</c:v>
                </c:pt>
                <c:pt idx="85">
                  <c:v>4</c:v>
                </c:pt>
                <c:pt idx="86">
                  <c:v>8</c:v>
                </c:pt>
                <c:pt idx="87">
                  <c:v>11</c:v>
                </c:pt>
                <c:pt idx="88">
                  <c:v>8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0</c:v>
                </c:pt>
                <c:pt idx="93">
                  <c:v>5</c:v>
                </c:pt>
                <c:pt idx="94">
                  <c:v>14</c:v>
                </c:pt>
                <c:pt idx="95">
                  <c:v>14</c:v>
                </c:pt>
                <c:pt idx="96">
                  <c:v>9</c:v>
                </c:pt>
                <c:pt idx="97">
                  <c:v>8</c:v>
                </c:pt>
                <c:pt idx="98">
                  <c:v>9</c:v>
                </c:pt>
                <c:pt idx="99">
                  <c:v>3</c:v>
                </c:pt>
                <c:pt idx="100">
                  <c:v>13</c:v>
                </c:pt>
                <c:pt idx="101">
                  <c:v>21</c:v>
                </c:pt>
                <c:pt idx="102">
                  <c:v>17</c:v>
                </c:pt>
                <c:pt idx="103">
                  <c:v>12</c:v>
                </c:pt>
                <c:pt idx="104">
                  <c:v>6</c:v>
                </c:pt>
                <c:pt idx="105">
                  <c:v>12</c:v>
                </c:pt>
                <c:pt idx="106">
                  <c:v>6</c:v>
                </c:pt>
                <c:pt idx="107">
                  <c:v>13</c:v>
                </c:pt>
                <c:pt idx="108">
                  <c:v>23</c:v>
                </c:pt>
                <c:pt idx="109">
                  <c:v>15</c:v>
                </c:pt>
                <c:pt idx="110">
                  <c:v>18</c:v>
                </c:pt>
                <c:pt idx="111">
                  <c:v>6</c:v>
                </c:pt>
                <c:pt idx="112">
                  <c:v>6</c:v>
                </c:pt>
                <c:pt idx="113">
                  <c:v>5</c:v>
                </c:pt>
                <c:pt idx="114">
                  <c:v>12</c:v>
                </c:pt>
                <c:pt idx="115">
                  <c:v>12</c:v>
                </c:pt>
                <c:pt idx="116">
                  <c:v>23</c:v>
                </c:pt>
                <c:pt idx="117">
                  <c:v>11</c:v>
                </c:pt>
                <c:pt idx="118">
                  <c:v>13</c:v>
                </c:pt>
                <c:pt idx="119">
                  <c:v>8</c:v>
                </c:pt>
                <c:pt idx="120">
                  <c:v>5</c:v>
                </c:pt>
                <c:pt idx="121">
                  <c:v>21</c:v>
                </c:pt>
                <c:pt idx="122">
                  <c:v>28</c:v>
                </c:pt>
                <c:pt idx="123">
                  <c:v>14</c:v>
                </c:pt>
                <c:pt idx="124">
                  <c:v>22</c:v>
                </c:pt>
                <c:pt idx="125">
                  <c:v>43</c:v>
                </c:pt>
                <c:pt idx="126">
                  <c:v>14</c:v>
                </c:pt>
                <c:pt idx="127">
                  <c:v>8</c:v>
                </c:pt>
                <c:pt idx="128">
                  <c:v>37</c:v>
                </c:pt>
                <c:pt idx="129">
                  <c:v>60</c:v>
                </c:pt>
                <c:pt idx="130">
                  <c:v>52</c:v>
                </c:pt>
                <c:pt idx="131">
                  <c:v>55</c:v>
                </c:pt>
                <c:pt idx="132">
                  <c:v>55</c:v>
                </c:pt>
                <c:pt idx="133">
                  <c:v>40</c:v>
                </c:pt>
                <c:pt idx="134">
                  <c:v>17</c:v>
                </c:pt>
                <c:pt idx="135">
                  <c:v>77</c:v>
                </c:pt>
                <c:pt idx="136">
                  <c:v>83</c:v>
                </c:pt>
                <c:pt idx="137">
                  <c:v>85</c:v>
                </c:pt>
                <c:pt idx="138">
                  <c:v>66</c:v>
                </c:pt>
                <c:pt idx="139">
                  <c:v>88</c:v>
                </c:pt>
                <c:pt idx="140">
                  <c:v>35</c:v>
                </c:pt>
                <c:pt idx="141">
                  <c:v>37</c:v>
                </c:pt>
                <c:pt idx="142">
                  <c:v>96</c:v>
                </c:pt>
                <c:pt idx="143">
                  <c:v>107</c:v>
                </c:pt>
                <c:pt idx="144">
                  <c:v>95</c:v>
                </c:pt>
                <c:pt idx="145">
                  <c:v>98</c:v>
                </c:pt>
                <c:pt idx="146">
                  <c:v>97</c:v>
                </c:pt>
                <c:pt idx="147">
                  <c:v>52</c:v>
                </c:pt>
                <c:pt idx="148">
                  <c:v>30</c:v>
                </c:pt>
                <c:pt idx="149">
                  <c:v>124</c:v>
                </c:pt>
                <c:pt idx="150">
                  <c:v>66</c:v>
                </c:pt>
                <c:pt idx="151">
                  <c:v>95</c:v>
                </c:pt>
                <c:pt idx="152">
                  <c:v>155</c:v>
                </c:pt>
                <c:pt idx="153">
                  <c:v>129</c:v>
                </c:pt>
                <c:pt idx="154">
                  <c:v>86</c:v>
                </c:pt>
                <c:pt idx="155">
                  <c:v>64</c:v>
                </c:pt>
                <c:pt idx="156">
                  <c:v>123</c:v>
                </c:pt>
                <c:pt idx="157">
                  <c:v>224</c:v>
                </c:pt>
                <c:pt idx="158">
                  <c:v>202</c:v>
                </c:pt>
                <c:pt idx="159">
                  <c:v>172</c:v>
                </c:pt>
                <c:pt idx="160">
                  <c:v>209</c:v>
                </c:pt>
                <c:pt idx="161">
                  <c:v>138</c:v>
                </c:pt>
                <c:pt idx="162">
                  <c:v>73</c:v>
                </c:pt>
                <c:pt idx="163">
                  <c:v>240</c:v>
                </c:pt>
                <c:pt idx="164">
                  <c:v>288</c:v>
                </c:pt>
                <c:pt idx="165">
                  <c:v>272</c:v>
                </c:pt>
                <c:pt idx="166">
                  <c:v>252</c:v>
                </c:pt>
                <c:pt idx="167">
                  <c:v>361</c:v>
                </c:pt>
                <c:pt idx="168">
                  <c:v>195</c:v>
                </c:pt>
                <c:pt idx="169">
                  <c:v>181</c:v>
                </c:pt>
                <c:pt idx="170">
                  <c:v>501</c:v>
                </c:pt>
                <c:pt idx="171">
                  <c:v>581</c:v>
                </c:pt>
                <c:pt idx="172">
                  <c:v>595</c:v>
                </c:pt>
                <c:pt idx="173">
                  <c:v>550</c:v>
                </c:pt>
                <c:pt idx="174">
                  <c:v>672</c:v>
                </c:pt>
                <c:pt idx="175">
                  <c:v>460</c:v>
                </c:pt>
                <c:pt idx="176">
                  <c:v>332</c:v>
                </c:pt>
                <c:pt idx="177">
                  <c:v>708</c:v>
                </c:pt>
                <c:pt idx="178">
                  <c:v>926</c:v>
                </c:pt>
                <c:pt idx="179">
                  <c:v>889</c:v>
                </c:pt>
                <c:pt idx="180">
                  <c:v>683</c:v>
                </c:pt>
                <c:pt idx="181">
                  <c:v>917</c:v>
                </c:pt>
                <c:pt idx="182">
                  <c:v>707</c:v>
                </c:pt>
                <c:pt idx="183">
                  <c:v>494</c:v>
                </c:pt>
                <c:pt idx="184">
                  <c:v>1243</c:v>
                </c:pt>
                <c:pt idx="185">
                  <c:v>1421</c:v>
                </c:pt>
                <c:pt idx="186">
                  <c:v>1578</c:v>
                </c:pt>
                <c:pt idx="187">
                  <c:v>1278</c:v>
                </c:pt>
                <c:pt idx="188">
                  <c:v>1374</c:v>
                </c:pt>
                <c:pt idx="189">
                  <c:v>720</c:v>
                </c:pt>
                <c:pt idx="190">
                  <c:v>396</c:v>
                </c:pt>
                <c:pt idx="191">
                  <c:v>1286</c:v>
                </c:pt>
                <c:pt idx="192">
                  <c:v>2042</c:v>
                </c:pt>
                <c:pt idx="193">
                  <c:v>1954</c:v>
                </c:pt>
                <c:pt idx="194">
                  <c:v>1324</c:v>
                </c:pt>
                <c:pt idx="195">
                  <c:v>2308</c:v>
                </c:pt>
                <c:pt idx="196">
                  <c:v>967</c:v>
                </c:pt>
                <c:pt idx="197">
                  <c:v>764</c:v>
                </c:pt>
                <c:pt idx="198">
                  <c:v>1568</c:v>
                </c:pt>
                <c:pt idx="199">
                  <c:v>2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C-425E-A01F-BB5EB831CF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1760</c:v>
                </c:pt>
                <c:pt idx="196">
                  <c:v>1765</c:v>
                </c:pt>
                <c:pt idx="197">
                  <c:v>1814</c:v>
                </c:pt>
                <c:pt idx="198">
                  <c:v>1890</c:v>
                </c:pt>
                <c:pt idx="199">
                  <c:v>1938</c:v>
                </c:pt>
                <c:pt idx="200">
                  <c:v>1967</c:v>
                </c:pt>
                <c:pt idx="201">
                  <c:v>1987</c:v>
                </c:pt>
                <c:pt idx="202">
                  <c:v>2002</c:v>
                </c:pt>
                <c:pt idx="203">
                  <c:v>2049</c:v>
                </c:pt>
                <c:pt idx="204">
                  <c:v>2103</c:v>
                </c:pt>
                <c:pt idx="205">
                  <c:v>2150</c:v>
                </c:pt>
                <c:pt idx="206">
                  <c:v>2181</c:v>
                </c:pt>
                <c:pt idx="207">
                  <c:v>2211</c:v>
                </c:pt>
                <c:pt idx="208">
                  <c:v>2248</c:v>
                </c:pt>
                <c:pt idx="209">
                  <c:v>2293</c:v>
                </c:pt>
                <c:pt idx="210">
                  <c:v>2342</c:v>
                </c:pt>
                <c:pt idx="211">
                  <c:v>2386</c:v>
                </c:pt>
                <c:pt idx="212">
                  <c:v>2426</c:v>
                </c:pt>
                <c:pt idx="213">
                  <c:v>2465</c:v>
                </c:pt>
                <c:pt idx="214">
                  <c:v>2510</c:v>
                </c:pt>
                <c:pt idx="215">
                  <c:v>2558</c:v>
                </c:pt>
                <c:pt idx="216">
                  <c:v>2607</c:v>
                </c:pt>
                <c:pt idx="217">
                  <c:v>2655</c:v>
                </c:pt>
                <c:pt idx="218">
                  <c:v>2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C-425E-A01F-BB5EB831CF7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1823</c:v>
                </c:pt>
                <c:pt idx="196">
                  <c:v>1869</c:v>
                </c:pt>
                <c:pt idx="197">
                  <c:v>1946</c:v>
                </c:pt>
                <c:pt idx="198">
                  <c:v>2043</c:v>
                </c:pt>
                <c:pt idx="199">
                  <c:v>2121</c:v>
                </c:pt>
                <c:pt idx="200">
                  <c:v>2190</c:v>
                </c:pt>
                <c:pt idx="201">
                  <c:v>2253</c:v>
                </c:pt>
                <c:pt idx="202">
                  <c:v>2316</c:v>
                </c:pt>
                <c:pt idx="203">
                  <c:v>2405</c:v>
                </c:pt>
                <c:pt idx="204">
                  <c:v>2500</c:v>
                </c:pt>
                <c:pt idx="205">
                  <c:v>2592</c:v>
                </c:pt>
                <c:pt idx="206">
                  <c:v>2674</c:v>
                </c:pt>
                <c:pt idx="207">
                  <c:v>2759</c:v>
                </c:pt>
                <c:pt idx="208">
                  <c:v>2852</c:v>
                </c:pt>
                <c:pt idx="209">
                  <c:v>2953</c:v>
                </c:pt>
                <c:pt idx="210">
                  <c:v>3060</c:v>
                </c:pt>
                <c:pt idx="211">
                  <c:v>3166</c:v>
                </c:pt>
                <c:pt idx="212">
                  <c:v>3272</c:v>
                </c:pt>
                <c:pt idx="213">
                  <c:v>3380</c:v>
                </c:pt>
                <c:pt idx="214">
                  <c:v>3496</c:v>
                </c:pt>
                <c:pt idx="215">
                  <c:v>3618</c:v>
                </c:pt>
                <c:pt idx="216">
                  <c:v>3745</c:v>
                </c:pt>
                <c:pt idx="217">
                  <c:v>3873</c:v>
                </c:pt>
                <c:pt idx="218">
                  <c:v>4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C-425E-A01F-BB5EB831CF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1887</c:v>
                </c:pt>
                <c:pt idx="196">
                  <c:v>1973</c:v>
                </c:pt>
                <c:pt idx="197">
                  <c:v>2078</c:v>
                </c:pt>
                <c:pt idx="198">
                  <c:v>2196</c:v>
                </c:pt>
                <c:pt idx="199">
                  <c:v>2308</c:v>
                </c:pt>
                <c:pt idx="200">
                  <c:v>2420</c:v>
                </c:pt>
                <c:pt idx="201">
                  <c:v>2535</c:v>
                </c:pt>
                <c:pt idx="202">
                  <c:v>2654</c:v>
                </c:pt>
                <c:pt idx="203">
                  <c:v>2790</c:v>
                </c:pt>
                <c:pt idx="204">
                  <c:v>2935</c:v>
                </c:pt>
                <c:pt idx="205">
                  <c:v>3084</c:v>
                </c:pt>
                <c:pt idx="206">
                  <c:v>3232</c:v>
                </c:pt>
                <c:pt idx="207">
                  <c:v>3389</c:v>
                </c:pt>
                <c:pt idx="208">
                  <c:v>3556</c:v>
                </c:pt>
                <c:pt idx="209">
                  <c:v>3734</c:v>
                </c:pt>
                <c:pt idx="210">
                  <c:v>3922</c:v>
                </c:pt>
                <c:pt idx="211">
                  <c:v>4117</c:v>
                </c:pt>
                <c:pt idx="212">
                  <c:v>4319</c:v>
                </c:pt>
                <c:pt idx="213">
                  <c:v>4531</c:v>
                </c:pt>
                <c:pt idx="214">
                  <c:v>4755</c:v>
                </c:pt>
                <c:pt idx="215">
                  <c:v>4991</c:v>
                </c:pt>
                <c:pt idx="216">
                  <c:v>5239</c:v>
                </c:pt>
                <c:pt idx="217">
                  <c:v>5498</c:v>
                </c:pt>
                <c:pt idx="218">
                  <c:v>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2C-425E-A01F-BB5EB831CF7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1951</c:v>
                </c:pt>
                <c:pt idx="196">
                  <c:v>2078</c:v>
                </c:pt>
                <c:pt idx="197">
                  <c:v>2210</c:v>
                </c:pt>
                <c:pt idx="198">
                  <c:v>2348</c:v>
                </c:pt>
                <c:pt idx="199">
                  <c:v>2498</c:v>
                </c:pt>
                <c:pt idx="200">
                  <c:v>2659</c:v>
                </c:pt>
                <c:pt idx="201">
                  <c:v>2831</c:v>
                </c:pt>
                <c:pt idx="202">
                  <c:v>3014</c:v>
                </c:pt>
                <c:pt idx="203">
                  <c:v>3206</c:v>
                </c:pt>
                <c:pt idx="204">
                  <c:v>3409</c:v>
                </c:pt>
                <c:pt idx="205">
                  <c:v>3627</c:v>
                </c:pt>
                <c:pt idx="206">
                  <c:v>3860</c:v>
                </c:pt>
                <c:pt idx="207">
                  <c:v>4108</c:v>
                </c:pt>
                <c:pt idx="208">
                  <c:v>4370</c:v>
                </c:pt>
                <c:pt idx="209">
                  <c:v>4649</c:v>
                </c:pt>
                <c:pt idx="210">
                  <c:v>4945</c:v>
                </c:pt>
                <c:pt idx="211">
                  <c:v>5260</c:v>
                </c:pt>
                <c:pt idx="212">
                  <c:v>5597</c:v>
                </c:pt>
                <c:pt idx="213">
                  <c:v>5954</c:v>
                </c:pt>
                <c:pt idx="214">
                  <c:v>6334</c:v>
                </c:pt>
                <c:pt idx="215">
                  <c:v>6738</c:v>
                </c:pt>
                <c:pt idx="216">
                  <c:v>7167</c:v>
                </c:pt>
                <c:pt idx="217">
                  <c:v>7624</c:v>
                </c:pt>
                <c:pt idx="218">
                  <c:v>8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6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08320959864159E-2"/>
          <c:y val="0.13849499407537877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B$336:$B$462</c:f>
              <c:numCache>
                <c:formatCode>0</c:formatCode>
                <c:ptCount val="127"/>
                <c:pt idx="0">
                  <c:v>23</c:v>
                </c:pt>
                <c:pt idx="1">
                  <c:v>43</c:v>
                </c:pt>
                <c:pt idx="2">
                  <c:v>63</c:v>
                </c:pt>
                <c:pt idx="3">
                  <c:v>44</c:v>
                </c:pt>
                <c:pt idx="4">
                  <c:v>34</c:v>
                </c:pt>
                <c:pt idx="5">
                  <c:v>42</c:v>
                </c:pt>
                <c:pt idx="6">
                  <c:v>55</c:v>
                </c:pt>
                <c:pt idx="7">
                  <c:v>31</c:v>
                </c:pt>
                <c:pt idx="8">
                  <c:v>39</c:v>
                </c:pt>
                <c:pt idx="9">
                  <c:v>87</c:v>
                </c:pt>
                <c:pt idx="10">
                  <c:v>51</c:v>
                </c:pt>
                <c:pt idx="11">
                  <c:v>56</c:v>
                </c:pt>
                <c:pt idx="12">
                  <c:v>80</c:v>
                </c:pt>
                <c:pt idx="13">
                  <c:v>42</c:v>
                </c:pt>
                <c:pt idx="14">
                  <c:v>28</c:v>
                </c:pt>
                <c:pt idx="15">
                  <c:v>67</c:v>
                </c:pt>
                <c:pt idx="16">
                  <c:v>63</c:v>
                </c:pt>
                <c:pt idx="17">
                  <c:v>49</c:v>
                </c:pt>
                <c:pt idx="18">
                  <c:v>55</c:v>
                </c:pt>
                <c:pt idx="19">
                  <c:v>66</c:v>
                </c:pt>
                <c:pt idx="20">
                  <c:v>46</c:v>
                </c:pt>
                <c:pt idx="21">
                  <c:v>43</c:v>
                </c:pt>
                <c:pt idx="22">
                  <c:v>51</c:v>
                </c:pt>
                <c:pt idx="23">
                  <c:v>74</c:v>
                </c:pt>
                <c:pt idx="24">
                  <c:v>73</c:v>
                </c:pt>
                <c:pt idx="25">
                  <c:v>64</c:v>
                </c:pt>
                <c:pt idx="26">
                  <c:v>45</c:v>
                </c:pt>
                <c:pt idx="27">
                  <c:v>41</c:v>
                </c:pt>
                <c:pt idx="28">
                  <c:v>24</c:v>
                </c:pt>
                <c:pt idx="29">
                  <c:v>59</c:v>
                </c:pt>
                <c:pt idx="30">
                  <c:v>69</c:v>
                </c:pt>
                <c:pt idx="31">
                  <c:v>48</c:v>
                </c:pt>
                <c:pt idx="32">
                  <c:v>58</c:v>
                </c:pt>
                <c:pt idx="33">
                  <c:v>59</c:v>
                </c:pt>
                <c:pt idx="34">
                  <c:v>46</c:v>
                </c:pt>
                <c:pt idx="35">
                  <c:v>29</c:v>
                </c:pt>
                <c:pt idx="36">
                  <c:v>94</c:v>
                </c:pt>
                <c:pt idx="37">
                  <c:v>146</c:v>
                </c:pt>
                <c:pt idx="38">
                  <c:v>68</c:v>
                </c:pt>
                <c:pt idx="39">
                  <c:v>89</c:v>
                </c:pt>
                <c:pt idx="40">
                  <c:v>70</c:v>
                </c:pt>
                <c:pt idx="41">
                  <c:v>52</c:v>
                </c:pt>
                <c:pt idx="42">
                  <c:v>36</c:v>
                </c:pt>
                <c:pt idx="43">
                  <c:v>95</c:v>
                </c:pt>
                <c:pt idx="44">
                  <c:v>121</c:v>
                </c:pt>
                <c:pt idx="45">
                  <c:v>114</c:v>
                </c:pt>
                <c:pt idx="46">
                  <c:v>122</c:v>
                </c:pt>
                <c:pt idx="47">
                  <c:v>73</c:v>
                </c:pt>
                <c:pt idx="48">
                  <c:v>67</c:v>
                </c:pt>
                <c:pt idx="49">
                  <c:v>54</c:v>
                </c:pt>
                <c:pt idx="50">
                  <c:v>110</c:v>
                </c:pt>
                <c:pt idx="51">
                  <c:v>124</c:v>
                </c:pt>
                <c:pt idx="52">
                  <c:v>112</c:v>
                </c:pt>
                <c:pt idx="53">
                  <c:v>109</c:v>
                </c:pt>
                <c:pt idx="54">
                  <c:v>104</c:v>
                </c:pt>
                <c:pt idx="55">
                  <c:v>82</c:v>
                </c:pt>
                <c:pt idx="56">
                  <c:v>62</c:v>
                </c:pt>
                <c:pt idx="57">
                  <c:v>110</c:v>
                </c:pt>
                <c:pt idx="58">
                  <c:v>85</c:v>
                </c:pt>
                <c:pt idx="59">
                  <c:v>153</c:v>
                </c:pt>
                <c:pt idx="60">
                  <c:v>141</c:v>
                </c:pt>
                <c:pt idx="61">
                  <c:v>140</c:v>
                </c:pt>
                <c:pt idx="62">
                  <c:v>112</c:v>
                </c:pt>
                <c:pt idx="63">
                  <c:v>66</c:v>
                </c:pt>
                <c:pt idx="64">
                  <c:v>134</c:v>
                </c:pt>
                <c:pt idx="65">
                  <c:v>175</c:v>
                </c:pt>
                <c:pt idx="66">
                  <c:v>137</c:v>
                </c:pt>
                <c:pt idx="67">
                  <c:v>157</c:v>
                </c:pt>
                <c:pt idx="68">
                  <c:v>183</c:v>
                </c:pt>
                <c:pt idx="69">
                  <c:v>128</c:v>
                </c:pt>
                <c:pt idx="70">
                  <c:v>67</c:v>
                </c:pt>
                <c:pt idx="71">
                  <c:v>214</c:v>
                </c:pt>
                <c:pt idx="72">
                  <c:v>181</c:v>
                </c:pt>
                <c:pt idx="73">
                  <c:v>226</c:v>
                </c:pt>
                <c:pt idx="74">
                  <c:v>204</c:v>
                </c:pt>
                <c:pt idx="75">
                  <c:v>225</c:v>
                </c:pt>
                <c:pt idx="76">
                  <c:v>196</c:v>
                </c:pt>
                <c:pt idx="77">
                  <c:v>151</c:v>
                </c:pt>
                <c:pt idx="78">
                  <c:v>373</c:v>
                </c:pt>
                <c:pt idx="79">
                  <c:v>408</c:v>
                </c:pt>
                <c:pt idx="80">
                  <c:v>499</c:v>
                </c:pt>
                <c:pt idx="81">
                  <c:v>556</c:v>
                </c:pt>
                <c:pt idx="82">
                  <c:v>544</c:v>
                </c:pt>
                <c:pt idx="83">
                  <c:v>505</c:v>
                </c:pt>
                <c:pt idx="84">
                  <c:v>320</c:v>
                </c:pt>
                <c:pt idx="85">
                  <c:v>593</c:v>
                </c:pt>
                <c:pt idx="86">
                  <c:v>937</c:v>
                </c:pt>
                <c:pt idx="87">
                  <c:v>848</c:v>
                </c:pt>
                <c:pt idx="88">
                  <c:v>696</c:v>
                </c:pt>
                <c:pt idx="89">
                  <c:v>730</c:v>
                </c:pt>
                <c:pt idx="90">
                  <c:v>673</c:v>
                </c:pt>
                <c:pt idx="91">
                  <c:v>406</c:v>
                </c:pt>
                <c:pt idx="92">
                  <c:v>875</c:v>
                </c:pt>
                <c:pt idx="93">
                  <c:v>1319</c:v>
                </c:pt>
                <c:pt idx="94">
                  <c:v>1053</c:v>
                </c:pt>
                <c:pt idx="95">
                  <c:v>975</c:v>
                </c:pt>
                <c:pt idx="96">
                  <c:v>883</c:v>
                </c:pt>
                <c:pt idx="97">
                  <c:v>852</c:v>
                </c:pt>
                <c:pt idx="98">
                  <c:v>469</c:v>
                </c:pt>
                <c:pt idx="99">
                  <c:v>1149</c:v>
                </c:pt>
                <c:pt idx="100">
                  <c:v>1717</c:v>
                </c:pt>
                <c:pt idx="101">
                  <c:v>1579</c:v>
                </c:pt>
                <c:pt idx="102">
                  <c:v>1166</c:v>
                </c:pt>
                <c:pt idx="103">
                  <c:v>1455</c:v>
                </c:pt>
                <c:pt idx="104">
                  <c:v>1336</c:v>
                </c:pt>
                <c:pt idx="105">
                  <c:v>848</c:v>
                </c:pt>
                <c:pt idx="106">
                  <c:v>1324</c:v>
                </c:pt>
                <c:pt idx="107">
                  <c:v>2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C$336:$C$462</c:f>
              <c:numCache>
                <c:formatCode>General</c:formatCode>
                <c:ptCount val="1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0F-4962-9CCB-3A06EAB110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D$336:$D$462</c:f>
              <c:numCache>
                <c:formatCode>General</c:formatCode>
                <c:ptCount val="127"/>
                <c:pt idx="103">
                  <c:v>1509</c:v>
                </c:pt>
                <c:pt idx="104">
                  <c:v>1513</c:v>
                </c:pt>
                <c:pt idx="105">
                  <c:v>1555</c:v>
                </c:pt>
                <c:pt idx="106">
                  <c:v>1621</c:v>
                </c:pt>
                <c:pt idx="107">
                  <c:v>1661</c:v>
                </c:pt>
                <c:pt idx="108">
                  <c:v>1687</c:v>
                </c:pt>
                <c:pt idx="109">
                  <c:v>1704</c:v>
                </c:pt>
                <c:pt idx="110">
                  <c:v>1716</c:v>
                </c:pt>
                <c:pt idx="111">
                  <c:v>1757</c:v>
                </c:pt>
                <c:pt idx="112">
                  <c:v>1803</c:v>
                </c:pt>
                <c:pt idx="113">
                  <c:v>1844</c:v>
                </c:pt>
                <c:pt idx="114">
                  <c:v>1870</c:v>
                </c:pt>
                <c:pt idx="115">
                  <c:v>1896</c:v>
                </c:pt>
                <c:pt idx="116">
                  <c:v>1928</c:v>
                </c:pt>
                <c:pt idx="117">
                  <c:v>1966</c:v>
                </c:pt>
                <c:pt idx="118">
                  <c:v>2008</c:v>
                </c:pt>
                <c:pt idx="119">
                  <c:v>2046</c:v>
                </c:pt>
                <c:pt idx="120">
                  <c:v>2080</c:v>
                </c:pt>
                <c:pt idx="121">
                  <c:v>2114</c:v>
                </c:pt>
                <c:pt idx="122">
                  <c:v>2152</c:v>
                </c:pt>
                <c:pt idx="123">
                  <c:v>2194</c:v>
                </c:pt>
                <c:pt idx="124">
                  <c:v>2235</c:v>
                </c:pt>
                <c:pt idx="125">
                  <c:v>2276</c:v>
                </c:pt>
                <c:pt idx="126">
                  <c:v>2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0F-4962-9CCB-3A06EAB110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E$336:$E$462</c:f>
              <c:numCache>
                <c:formatCode>General</c:formatCode>
                <c:ptCount val="127"/>
                <c:pt idx="103">
                  <c:v>1564</c:v>
                </c:pt>
                <c:pt idx="104">
                  <c:v>1603</c:v>
                </c:pt>
                <c:pt idx="105">
                  <c:v>1668</c:v>
                </c:pt>
                <c:pt idx="106">
                  <c:v>1752</c:v>
                </c:pt>
                <c:pt idx="107">
                  <c:v>1819</c:v>
                </c:pt>
                <c:pt idx="108">
                  <c:v>1877</c:v>
                </c:pt>
                <c:pt idx="109">
                  <c:v>1932</c:v>
                </c:pt>
                <c:pt idx="110">
                  <c:v>1986</c:v>
                </c:pt>
                <c:pt idx="111">
                  <c:v>2062</c:v>
                </c:pt>
                <c:pt idx="112">
                  <c:v>2144</c:v>
                </c:pt>
                <c:pt idx="113">
                  <c:v>2222</c:v>
                </c:pt>
                <c:pt idx="114">
                  <c:v>2293</c:v>
                </c:pt>
                <c:pt idx="115">
                  <c:v>2365</c:v>
                </c:pt>
                <c:pt idx="116">
                  <c:v>2445</c:v>
                </c:pt>
                <c:pt idx="117">
                  <c:v>2532</c:v>
                </c:pt>
                <c:pt idx="118">
                  <c:v>2624</c:v>
                </c:pt>
                <c:pt idx="119">
                  <c:v>2715</c:v>
                </c:pt>
                <c:pt idx="120">
                  <c:v>2806</c:v>
                </c:pt>
                <c:pt idx="121">
                  <c:v>2898</c:v>
                </c:pt>
                <c:pt idx="122">
                  <c:v>2998</c:v>
                </c:pt>
                <c:pt idx="123">
                  <c:v>3103</c:v>
                </c:pt>
                <c:pt idx="124">
                  <c:v>3211</c:v>
                </c:pt>
                <c:pt idx="125">
                  <c:v>3321</c:v>
                </c:pt>
                <c:pt idx="126">
                  <c:v>3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0F-4962-9CCB-3A06EAB110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F$336:$F$462</c:f>
              <c:numCache>
                <c:formatCode>General</c:formatCode>
                <c:ptCount val="127"/>
                <c:pt idx="103">
                  <c:v>1618</c:v>
                </c:pt>
                <c:pt idx="104">
                  <c:v>1692</c:v>
                </c:pt>
                <c:pt idx="105">
                  <c:v>1782</c:v>
                </c:pt>
                <c:pt idx="106">
                  <c:v>1883</c:v>
                </c:pt>
                <c:pt idx="107">
                  <c:v>1979</c:v>
                </c:pt>
                <c:pt idx="108">
                  <c:v>2075</c:v>
                </c:pt>
                <c:pt idx="109">
                  <c:v>2173</c:v>
                </c:pt>
                <c:pt idx="110">
                  <c:v>2276</c:v>
                </c:pt>
                <c:pt idx="111">
                  <c:v>2392</c:v>
                </c:pt>
                <c:pt idx="112">
                  <c:v>2517</c:v>
                </c:pt>
                <c:pt idx="113">
                  <c:v>2644</c:v>
                </c:pt>
                <c:pt idx="114">
                  <c:v>2772</c:v>
                </c:pt>
                <c:pt idx="115">
                  <c:v>2906</c:v>
                </c:pt>
                <c:pt idx="116">
                  <c:v>3049</c:v>
                </c:pt>
                <c:pt idx="117">
                  <c:v>3202</c:v>
                </c:pt>
                <c:pt idx="118">
                  <c:v>3363</c:v>
                </c:pt>
                <c:pt idx="119">
                  <c:v>3530</c:v>
                </c:pt>
                <c:pt idx="120">
                  <c:v>3703</c:v>
                </c:pt>
                <c:pt idx="121">
                  <c:v>3885</c:v>
                </c:pt>
                <c:pt idx="122">
                  <c:v>4077</c:v>
                </c:pt>
                <c:pt idx="123">
                  <c:v>4280</c:v>
                </c:pt>
                <c:pt idx="124">
                  <c:v>4492</c:v>
                </c:pt>
                <c:pt idx="125">
                  <c:v>4714</c:v>
                </c:pt>
                <c:pt idx="126">
                  <c:v>4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F-4962-9CCB-3A06EAB110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62</c:f>
              <c:numCache>
                <c:formatCode>m/d/yyyy</c:formatCode>
                <c:ptCount val="127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  <c:pt idx="106">
                  <c:v>44515</c:v>
                </c:pt>
                <c:pt idx="107">
                  <c:v>44516</c:v>
                </c:pt>
                <c:pt idx="108">
                  <c:v>44517</c:v>
                </c:pt>
                <c:pt idx="109">
                  <c:v>44518</c:v>
                </c:pt>
                <c:pt idx="110">
                  <c:v>44519</c:v>
                </c:pt>
                <c:pt idx="111">
                  <c:v>44520</c:v>
                </c:pt>
                <c:pt idx="112">
                  <c:v>44521</c:v>
                </c:pt>
                <c:pt idx="113">
                  <c:v>44522</c:v>
                </c:pt>
                <c:pt idx="114">
                  <c:v>44523</c:v>
                </c:pt>
                <c:pt idx="115">
                  <c:v>44524</c:v>
                </c:pt>
                <c:pt idx="116">
                  <c:v>44525</c:v>
                </c:pt>
                <c:pt idx="117">
                  <c:v>44526</c:v>
                </c:pt>
                <c:pt idx="118">
                  <c:v>44527</c:v>
                </c:pt>
                <c:pt idx="119">
                  <c:v>44528</c:v>
                </c:pt>
                <c:pt idx="120">
                  <c:v>44529</c:v>
                </c:pt>
                <c:pt idx="121">
                  <c:v>44530</c:v>
                </c:pt>
                <c:pt idx="122">
                  <c:v>44531</c:v>
                </c:pt>
                <c:pt idx="123">
                  <c:v>44532</c:v>
                </c:pt>
                <c:pt idx="124">
                  <c:v>44533</c:v>
                </c:pt>
                <c:pt idx="125">
                  <c:v>44534</c:v>
                </c:pt>
                <c:pt idx="126">
                  <c:v>44535</c:v>
                </c:pt>
              </c:numCache>
            </c:numRef>
          </c:cat>
          <c:val>
            <c:numRef>
              <c:f>Sheet1!$G$336:$G$462</c:f>
              <c:numCache>
                <c:formatCode>General</c:formatCode>
                <c:ptCount val="127"/>
                <c:pt idx="103">
                  <c:v>1673</c:v>
                </c:pt>
                <c:pt idx="104">
                  <c:v>1782</c:v>
                </c:pt>
                <c:pt idx="105">
                  <c:v>1895</c:v>
                </c:pt>
                <c:pt idx="106">
                  <c:v>2013</c:v>
                </c:pt>
                <c:pt idx="107">
                  <c:v>2142</c:v>
                </c:pt>
                <c:pt idx="108">
                  <c:v>2280</c:v>
                </c:pt>
                <c:pt idx="109">
                  <c:v>2427</c:v>
                </c:pt>
                <c:pt idx="110">
                  <c:v>2584</c:v>
                </c:pt>
                <c:pt idx="111">
                  <c:v>2749</c:v>
                </c:pt>
                <c:pt idx="112">
                  <c:v>2923</c:v>
                </c:pt>
                <c:pt idx="113">
                  <c:v>3110</c:v>
                </c:pt>
                <c:pt idx="114">
                  <c:v>3310</c:v>
                </c:pt>
                <c:pt idx="115">
                  <c:v>3522</c:v>
                </c:pt>
                <c:pt idx="116">
                  <c:v>3747</c:v>
                </c:pt>
                <c:pt idx="117">
                  <c:v>3986</c:v>
                </c:pt>
                <c:pt idx="118">
                  <c:v>4240</c:v>
                </c:pt>
                <c:pt idx="119">
                  <c:v>4511</c:v>
                </c:pt>
                <c:pt idx="120">
                  <c:v>4799</c:v>
                </c:pt>
                <c:pt idx="121">
                  <c:v>5106</c:v>
                </c:pt>
                <c:pt idx="122">
                  <c:v>5431</c:v>
                </c:pt>
                <c:pt idx="123">
                  <c:v>5777</c:v>
                </c:pt>
                <c:pt idx="124">
                  <c:v>6145</c:v>
                </c:pt>
                <c:pt idx="125">
                  <c:v>6537</c:v>
                </c:pt>
                <c:pt idx="126">
                  <c:v>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F8-40A4-B203-95E23E79D55C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34.036588494291749</c:v>
                </c:pt>
                <c:pt idx="1">
                  <c:v>31.353901716416534</c:v>
                </c:pt>
                <c:pt idx="2">
                  <c:v>29.006550785775726</c:v>
                </c:pt>
                <c:pt idx="3">
                  <c:v>28.252045129498324</c:v>
                </c:pt>
                <c:pt idx="4">
                  <c:v>27.91670928226392</c:v>
                </c:pt>
                <c:pt idx="5">
                  <c:v>26.910701740560715</c:v>
                </c:pt>
                <c:pt idx="6">
                  <c:v>25.06635458077151</c:v>
                </c:pt>
                <c:pt idx="7">
                  <c:v>21.461494223001694</c:v>
                </c:pt>
                <c:pt idx="8">
                  <c:v>20.371652719489887</c:v>
                </c:pt>
                <c:pt idx="9">
                  <c:v>17.437464056188876</c:v>
                </c:pt>
                <c:pt idx="10">
                  <c:v>15.257781049165265</c:v>
                </c:pt>
                <c:pt idx="11">
                  <c:v>15.090113125548065</c:v>
                </c:pt>
                <c:pt idx="12">
                  <c:v>14.838611240122264</c:v>
                </c:pt>
                <c:pt idx="13">
                  <c:v>12.323592385864252</c:v>
                </c:pt>
                <c:pt idx="14">
                  <c:v>11.401418805969648</c:v>
                </c:pt>
                <c:pt idx="15">
                  <c:v>9.5570716461804395</c:v>
                </c:pt>
                <c:pt idx="16">
                  <c:v>10.060075417032042</c:v>
                </c:pt>
                <c:pt idx="17">
                  <c:v>9.8924074934148418</c:v>
                </c:pt>
                <c:pt idx="18">
                  <c:v>8.8863999517116383</c:v>
                </c:pt>
                <c:pt idx="19">
                  <c:v>8.8025659899030373</c:v>
                </c:pt>
                <c:pt idx="20">
                  <c:v>8.8863999517116383</c:v>
                </c:pt>
                <c:pt idx="21">
                  <c:v>8.1318942954342344</c:v>
                </c:pt>
                <c:pt idx="22">
                  <c:v>8.2995622190514364</c:v>
                </c:pt>
                <c:pt idx="23">
                  <c:v>6.7905509064966294</c:v>
                </c:pt>
                <c:pt idx="24">
                  <c:v>6.7905509064966294</c:v>
                </c:pt>
                <c:pt idx="25">
                  <c:v>6.8743848683052287</c:v>
                </c:pt>
                <c:pt idx="26">
                  <c:v>6.7905509064966294</c:v>
                </c:pt>
                <c:pt idx="27">
                  <c:v>6.7067169446880284</c:v>
                </c:pt>
                <c:pt idx="28">
                  <c:v>6.9582188301138297</c:v>
                </c:pt>
                <c:pt idx="29">
                  <c:v>6.6228829828794282</c:v>
                </c:pt>
                <c:pt idx="30">
                  <c:v>7.293554677348232</c:v>
                </c:pt>
                <c:pt idx="31">
                  <c:v>7.293554677348232</c:v>
                </c:pt>
                <c:pt idx="32">
                  <c:v>7.880392410008433</c:v>
                </c:pt>
                <c:pt idx="33">
                  <c:v>7.4612226009654323</c:v>
                </c:pt>
                <c:pt idx="34">
                  <c:v>6.7905509064966294</c:v>
                </c:pt>
                <c:pt idx="35">
                  <c:v>5.6168754411762238</c:v>
                </c:pt>
                <c:pt idx="36">
                  <c:v>6.3713810974536269</c:v>
                </c:pt>
                <c:pt idx="37">
                  <c:v>5.9522112884106253</c:v>
                </c:pt>
                <c:pt idx="38">
                  <c:v>6.6228829828794282</c:v>
                </c:pt>
                <c:pt idx="39">
                  <c:v>6.3713810974536269</c:v>
                </c:pt>
                <c:pt idx="40">
                  <c:v>7.12588675373103</c:v>
                </c:pt>
                <c:pt idx="41">
                  <c:v>7.880392410008433</c:v>
                </c:pt>
                <c:pt idx="42">
                  <c:v>9.8085735316062408</c:v>
                </c:pt>
                <c:pt idx="43">
                  <c:v>8.634898066285837</c:v>
                </c:pt>
                <c:pt idx="44">
                  <c:v>8.1318942954342344</c:v>
                </c:pt>
                <c:pt idx="45">
                  <c:v>7.7127244863912328</c:v>
                </c:pt>
                <c:pt idx="46">
                  <c:v>7.7127244863912328</c:v>
                </c:pt>
                <c:pt idx="47">
                  <c:v>7.6288905245826326</c:v>
                </c:pt>
                <c:pt idx="48">
                  <c:v>7.5450565627740325</c:v>
                </c:pt>
                <c:pt idx="49">
                  <c:v>6.7905509064966294</c:v>
                </c:pt>
                <c:pt idx="50">
                  <c:v>7.6288905245826326</c:v>
                </c:pt>
                <c:pt idx="51">
                  <c:v>8.2157282572428354</c:v>
                </c:pt>
                <c:pt idx="52">
                  <c:v>7.5450565627740325</c:v>
                </c:pt>
                <c:pt idx="53">
                  <c:v>7.0420527919224307</c:v>
                </c:pt>
                <c:pt idx="54">
                  <c:v>6.7067169446880284</c:v>
                </c:pt>
                <c:pt idx="55">
                  <c:v>6.0360452502192254</c:v>
                </c:pt>
                <c:pt idx="56">
                  <c:v>5.4492075175590236</c:v>
                </c:pt>
                <c:pt idx="57">
                  <c:v>4.6947018612816196</c:v>
                </c:pt>
                <c:pt idx="58">
                  <c:v>4.4431999758558192</c:v>
                </c:pt>
                <c:pt idx="59">
                  <c:v>4.359366014047219</c:v>
                </c:pt>
                <c:pt idx="60">
                  <c:v>4.6947018612816196</c:v>
                </c:pt>
                <c:pt idx="61">
                  <c:v>4.359366014047219</c:v>
                </c:pt>
                <c:pt idx="62">
                  <c:v>4.1078641286214177</c:v>
                </c:pt>
                <c:pt idx="63">
                  <c:v>4.359366014047219</c:v>
                </c:pt>
                <c:pt idx="64">
                  <c:v>4.8623697848988208</c:v>
                </c:pt>
                <c:pt idx="65">
                  <c:v>4.9462037467074209</c:v>
                </c:pt>
                <c:pt idx="66">
                  <c:v>4.8623697848988208</c:v>
                </c:pt>
                <c:pt idx="67">
                  <c:v>4.9462037467074209</c:v>
                </c:pt>
                <c:pt idx="68">
                  <c:v>5.1977056321332222</c:v>
                </c:pt>
                <c:pt idx="69">
                  <c:v>5.8683773266020252</c:v>
                </c:pt>
                <c:pt idx="70">
                  <c:v>6.4552150592622279</c:v>
                </c:pt>
                <c:pt idx="71">
                  <c:v>6.7067169446880284</c:v>
                </c:pt>
                <c:pt idx="72">
                  <c:v>6.9582188301138297</c:v>
                </c:pt>
                <c:pt idx="73">
                  <c:v>6.7905509064966294</c:v>
                </c:pt>
                <c:pt idx="74">
                  <c:v>7.0420527919224307</c:v>
                </c:pt>
                <c:pt idx="75">
                  <c:v>7.293554677348232</c:v>
                </c:pt>
                <c:pt idx="76">
                  <c:v>7.293554677348232</c:v>
                </c:pt>
                <c:pt idx="77">
                  <c:v>7.4612226009654323</c:v>
                </c:pt>
                <c:pt idx="78">
                  <c:v>7.293554677348232</c:v>
                </c:pt>
                <c:pt idx="79">
                  <c:v>7.7965584481998338</c:v>
                </c:pt>
                <c:pt idx="80">
                  <c:v>7.7965584481998338</c:v>
                </c:pt>
                <c:pt idx="81">
                  <c:v>7.293554677348232</c:v>
                </c:pt>
                <c:pt idx="82">
                  <c:v>7.209720715539631</c:v>
                </c:pt>
                <c:pt idx="83">
                  <c:v>7.12588675373103</c:v>
                </c:pt>
                <c:pt idx="84">
                  <c:v>6.2037131738364266</c:v>
                </c:pt>
                <c:pt idx="85">
                  <c:v>6.8743848683052287</c:v>
                </c:pt>
                <c:pt idx="86">
                  <c:v>6.2875471356450277</c:v>
                </c:pt>
                <c:pt idx="87">
                  <c:v>6.8743848683052287</c:v>
                </c:pt>
                <c:pt idx="88">
                  <c:v>7.0420527919224307</c:v>
                </c:pt>
                <c:pt idx="89">
                  <c:v>7.0420527919224307</c:v>
                </c:pt>
                <c:pt idx="90">
                  <c:v>7.7965584481998338</c:v>
                </c:pt>
                <c:pt idx="91">
                  <c:v>9.1379018371374396</c:v>
                </c:pt>
                <c:pt idx="92">
                  <c:v>8.3833961808600357</c:v>
                </c:pt>
                <c:pt idx="93">
                  <c:v>9.3055697607546399</c:v>
                </c:pt>
                <c:pt idx="94">
                  <c:v>11.82058861501265</c:v>
                </c:pt>
                <c:pt idx="95">
                  <c:v>12.323592385864252</c:v>
                </c:pt>
                <c:pt idx="96">
                  <c:v>12.575094271290055</c:v>
                </c:pt>
                <c:pt idx="97">
                  <c:v>13.916437660227659</c:v>
                </c:pt>
                <c:pt idx="98">
                  <c:v>16.599124438102873</c:v>
                </c:pt>
                <c:pt idx="99">
                  <c:v>19.784814986829684</c:v>
                </c:pt>
                <c:pt idx="100">
                  <c:v>22.551335726513496</c:v>
                </c:pt>
                <c:pt idx="101">
                  <c:v>23.557343268216698</c:v>
                </c:pt>
                <c:pt idx="102">
                  <c:v>25.737026275240311</c:v>
                </c:pt>
                <c:pt idx="103">
                  <c:v>26.491531931517713</c:v>
                </c:pt>
                <c:pt idx="104">
                  <c:v>29.844890403861729</c:v>
                </c:pt>
                <c:pt idx="105">
                  <c:v>31.773071525459535</c:v>
                </c:pt>
                <c:pt idx="106">
                  <c:v>34.539592265143348</c:v>
                </c:pt>
                <c:pt idx="107">
                  <c:v>35.461765845037952</c:v>
                </c:pt>
                <c:pt idx="108">
                  <c:v>38.228286584721758</c:v>
                </c:pt>
                <c:pt idx="109">
                  <c:v>37.80911677567876</c:v>
                </c:pt>
                <c:pt idx="110">
                  <c:v>39.485796011850766</c:v>
                </c:pt>
                <c:pt idx="111">
                  <c:v>41.078641286214179</c:v>
                </c:pt>
                <c:pt idx="112">
                  <c:v>43.090656369620589</c:v>
                </c:pt>
                <c:pt idx="113">
                  <c:v>43.928995987706593</c:v>
                </c:pt>
                <c:pt idx="114">
                  <c:v>46.611682765581797</c:v>
                </c:pt>
                <c:pt idx="115">
                  <c:v>47.366188421859199</c:v>
                </c:pt>
                <c:pt idx="116">
                  <c:v>48.79136577260541</c:v>
                </c:pt>
                <c:pt idx="117">
                  <c:v>48.204528039945203</c:v>
                </c:pt>
                <c:pt idx="118">
                  <c:v>50.551878970586024</c:v>
                </c:pt>
                <c:pt idx="119">
                  <c:v>47.114686536433396</c:v>
                </c:pt>
                <c:pt idx="120">
                  <c:v>47.114686536433396</c:v>
                </c:pt>
                <c:pt idx="121">
                  <c:v>51.893222359523627</c:v>
                </c:pt>
                <c:pt idx="122">
                  <c:v>54.575909137398831</c:v>
                </c:pt>
                <c:pt idx="123">
                  <c:v>57.426263838891245</c:v>
                </c:pt>
                <c:pt idx="124">
                  <c:v>60.276618540383659</c:v>
                </c:pt>
                <c:pt idx="125">
                  <c:v>60.192784578575058</c:v>
                </c:pt>
                <c:pt idx="126">
                  <c:v>73.438550544333921</c:v>
                </c:pt>
                <c:pt idx="127">
                  <c:v>82.408784457854154</c:v>
                </c:pt>
                <c:pt idx="128">
                  <c:v>83.833961808600364</c:v>
                </c:pt>
                <c:pt idx="129">
                  <c:v>90.54067875328839</c:v>
                </c:pt>
                <c:pt idx="130">
                  <c:v>94.900044767335601</c:v>
                </c:pt>
                <c:pt idx="131">
                  <c:v>95.654550423613017</c:v>
                </c:pt>
                <c:pt idx="132">
                  <c:v>105.46312395521925</c:v>
                </c:pt>
                <c:pt idx="133">
                  <c:v>110.82849751096967</c:v>
                </c:pt>
                <c:pt idx="134">
                  <c:v>116.69687483757171</c:v>
                </c:pt>
                <c:pt idx="135">
                  <c:v>123.40359178225972</c:v>
                </c:pt>
                <c:pt idx="136">
                  <c:v>136.146353977167</c:v>
                </c:pt>
                <c:pt idx="137">
                  <c:v>140.9248898002572</c:v>
                </c:pt>
                <c:pt idx="138">
                  <c:v>149.97895767558603</c:v>
                </c:pt>
                <c:pt idx="139">
                  <c:v>171.85962170763074</c:v>
                </c:pt>
                <c:pt idx="140">
                  <c:v>196.42297251755065</c:v>
                </c:pt>
                <c:pt idx="141">
                  <c:v>223.50134218172857</c:v>
                </c:pt>
                <c:pt idx="142">
                  <c:v>248.48386280069147</c:v>
                </c:pt>
                <c:pt idx="143">
                  <c:v>274.55622492316616</c:v>
                </c:pt>
                <c:pt idx="144">
                  <c:v>296.77222480244529</c:v>
                </c:pt>
                <c:pt idx="145">
                  <c:v>309.4311530355439</c:v>
                </c:pt>
                <c:pt idx="146">
                  <c:v>326.78478312992422</c:v>
                </c:pt>
                <c:pt idx="147">
                  <c:v>355.70749995389133</c:v>
                </c:pt>
                <c:pt idx="148">
                  <c:v>380.35468472561985</c:v>
                </c:pt>
                <c:pt idx="149">
                  <c:v>391.50460164616368</c:v>
                </c:pt>
                <c:pt idx="150">
                  <c:v>412.04392228927077</c:v>
                </c:pt>
                <c:pt idx="151">
                  <c:v>432.75091085599502</c:v>
                </c:pt>
                <c:pt idx="152">
                  <c:v>446.33201266898834</c:v>
                </c:pt>
                <c:pt idx="153">
                  <c:v>491.18318223658952</c:v>
                </c:pt>
                <c:pt idx="154">
                  <c:v>532.68099333184671</c:v>
                </c:pt>
                <c:pt idx="155">
                  <c:v>590.4425930179724</c:v>
                </c:pt>
                <c:pt idx="156">
                  <c:v>640.32380029408955</c:v>
                </c:pt>
                <c:pt idx="157">
                  <c:v>678.63592084061986</c:v>
                </c:pt>
                <c:pt idx="158">
                  <c:v>679.72576234413168</c:v>
                </c:pt>
                <c:pt idx="159">
                  <c:v>671.51003408688882</c:v>
                </c:pt>
                <c:pt idx="160">
                  <c:v>675.11489444465872</c:v>
                </c:pt>
                <c:pt idx="161">
                  <c:v>727.17578472779951</c:v>
                </c:pt>
                <c:pt idx="162">
                  <c:v>758.69735436783333</c:v>
                </c:pt>
                <c:pt idx="163">
                  <c:v>762.5537166110289</c:v>
                </c:pt>
                <c:pt idx="164">
                  <c:v>840.85463694026157</c:v>
                </c:pt>
                <c:pt idx="165">
                  <c:v>861.56162550698593</c:v>
                </c:pt>
                <c:pt idx="166">
                  <c:v>892.41252345255077</c:v>
                </c:pt>
                <c:pt idx="167">
                  <c:v>916.05370068257616</c:v>
                </c:pt>
                <c:pt idx="168">
                  <c:v>968.44992681295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F8-40A4-B203-95E23E79D5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776.38632030944791</c:v>
                </c:pt>
                <c:pt idx="165" formatCode="0">
                  <c:v>801.3688409284108</c:v>
                </c:pt>
                <c:pt idx="166" formatCode="0">
                  <c:v>823.83634269311574</c:v>
                </c:pt>
                <c:pt idx="167" formatCode="0">
                  <c:v>845.38167087792601</c:v>
                </c:pt>
                <c:pt idx="168" formatCode="0">
                  <c:v>863.65747455220094</c:v>
                </c:pt>
                <c:pt idx="169" formatCode="0">
                  <c:v>876.98707447976824</c:v>
                </c:pt>
                <c:pt idx="170" formatCode="0">
                  <c:v>884.28062915711666</c:v>
                </c:pt>
                <c:pt idx="171" formatCode="0">
                  <c:v>897.10722531383249</c:v>
                </c:pt>
                <c:pt idx="172" formatCode="0">
                  <c:v>916.22136860619332</c:v>
                </c:pt>
                <c:pt idx="173" formatCode="0">
                  <c:v>935.67084774578859</c:v>
                </c:pt>
                <c:pt idx="174" formatCode="0">
                  <c:v>953.10831180197749</c:v>
                </c:pt>
                <c:pt idx="175" formatCode="0">
                  <c:v>969.37210039284594</c:v>
                </c:pt>
                <c:pt idx="176" formatCode="0">
                  <c:v>985.71972294552302</c:v>
                </c:pt>
                <c:pt idx="177" formatCode="0">
                  <c:v>1003.2410209635206</c:v>
                </c:pt>
                <c:pt idx="178" formatCode="0">
                  <c:v>1022.7743340649245</c:v>
                </c:pt>
                <c:pt idx="179" formatCode="0">
                  <c:v>1042.3914811281368</c:v>
                </c:pt>
                <c:pt idx="180" formatCode="0">
                  <c:v>1061.4217904586892</c:v>
                </c:pt>
                <c:pt idx="181" formatCode="0">
                  <c:v>1079.9490960183898</c:v>
                </c:pt>
                <c:pt idx="182" formatCode="0">
                  <c:v>1099.0632393107508</c:v>
                </c:pt>
                <c:pt idx="183" formatCode="0">
                  <c:v>1119.0995561830061</c:v>
                </c:pt>
                <c:pt idx="184" formatCode="0">
                  <c:v>1139.9742126733477</c:v>
                </c:pt>
                <c:pt idx="185" formatCode="0">
                  <c:v>1161.100371049115</c:v>
                </c:pt>
                <c:pt idx="186" formatCode="0">
                  <c:v>1182.1426954630738</c:v>
                </c:pt>
                <c:pt idx="187" formatCode="0">
                  <c:v>1203.2688538388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F8-40A4-B203-95E23E79D55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780.74568632349508</c:v>
                </c:pt>
                <c:pt idx="165" formatCode="0">
                  <c:v>812.77025973438049</c:v>
                </c:pt>
                <c:pt idx="166" formatCode="0">
                  <c:v>844.12416145079715</c:v>
                </c:pt>
                <c:pt idx="167" formatCode="0">
                  <c:v>875.89723297625653</c:v>
                </c:pt>
                <c:pt idx="168" formatCode="0">
                  <c:v>906.4966290363958</c:v>
                </c:pt>
                <c:pt idx="169" formatCode="0">
                  <c:v>934.66484020408541</c:v>
                </c:pt>
                <c:pt idx="170" formatCode="0">
                  <c:v>959.8988627084741</c:v>
                </c:pt>
                <c:pt idx="171" formatCode="0">
                  <c:v>989.49225122691007</c:v>
                </c:pt>
                <c:pt idx="172" formatCode="0">
                  <c:v>1025.4570208427997</c:v>
                </c:pt>
                <c:pt idx="173" formatCode="0">
                  <c:v>1062.6792998858182</c:v>
                </c:pt>
                <c:pt idx="174" formatCode="0">
                  <c:v>1099.5662430816024</c:v>
                </c:pt>
                <c:pt idx="175" formatCode="0">
                  <c:v>1136.6208542010036</c:v>
                </c:pt>
                <c:pt idx="176" formatCode="0">
                  <c:v>1174.8491407857255</c:v>
                </c:pt>
                <c:pt idx="177" formatCode="0">
                  <c:v>1215.005608492045</c:v>
                </c:pt>
                <c:pt idx="178" formatCode="0">
                  <c:v>1257.7609290144312</c:v>
                </c:pt>
                <c:pt idx="179" formatCode="0">
                  <c:v>1301.7737589639464</c:v>
                </c:pt>
                <c:pt idx="180" formatCode="0">
                  <c:v>1346.541094569739</c:v>
                </c:pt>
                <c:pt idx="181" formatCode="0">
                  <c:v>1392.1467697936175</c:v>
                </c:pt>
                <c:pt idx="182" formatCode="0">
                  <c:v>1439.5967921772854</c:v>
                </c:pt>
                <c:pt idx="183" formatCode="0">
                  <c:v>1489.1426636061681</c:v>
                </c:pt>
                <c:pt idx="184" formatCode="0">
                  <c:v>1540.6167161566489</c:v>
                </c:pt>
                <c:pt idx="185" formatCode="0">
                  <c:v>1593.7674479433012</c:v>
                </c:pt>
                <c:pt idx="186" formatCode="0">
                  <c:v>1648.2595231188918</c:v>
                </c:pt>
                <c:pt idx="187" formatCode="0">
                  <c:v>1704.42827753065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F8-40A4-B203-95E23E79D55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785.188886299351</c:v>
                </c:pt>
                <c:pt idx="165" formatCode="0">
                  <c:v>824.17167854035006</c:v>
                </c:pt>
                <c:pt idx="166" formatCode="0">
                  <c:v>864.41198020847833</c:v>
                </c:pt>
                <c:pt idx="167" formatCode="0">
                  <c:v>906.41279507458705</c:v>
                </c:pt>
                <c:pt idx="168" formatCode="0">
                  <c:v>949.50345144420771</c:v>
                </c:pt>
                <c:pt idx="169" formatCode="0">
                  <c:v>993.18094554648849</c:v>
                </c:pt>
                <c:pt idx="170" formatCode="0">
                  <c:v>1037.2776094578121</c:v>
                </c:pt>
                <c:pt idx="171" formatCode="0">
                  <c:v>1085.0629676887145</c:v>
                </c:pt>
                <c:pt idx="172" formatCode="0">
                  <c:v>1139.9742126733477</c:v>
                </c:pt>
                <c:pt idx="173" formatCode="0">
                  <c:v>1197.5681444358561</c:v>
                </c:pt>
                <c:pt idx="174" formatCode="0">
                  <c:v>1257.1740912817711</c:v>
                </c:pt>
                <c:pt idx="175" formatCode="0">
                  <c:v>1319.2950569819438</c:v>
                </c:pt>
                <c:pt idx="176" formatCode="0">
                  <c:v>1384.3502113454176</c:v>
                </c:pt>
                <c:pt idx="177" formatCode="0">
                  <c:v>1452.9263921048528</c:v>
                </c:pt>
                <c:pt idx="178" formatCode="0">
                  <c:v>1525.5266030311006</c:v>
                </c:pt>
                <c:pt idx="179" formatCode="0">
                  <c:v>1601.4801724296926</c:v>
                </c:pt>
                <c:pt idx="180" formatCode="0">
                  <c:v>1680.7871003006285</c:v>
                </c:pt>
                <c:pt idx="181" formatCode="0">
                  <c:v>1763.7827224911427</c:v>
                </c:pt>
                <c:pt idx="182" formatCode="0">
                  <c:v>1850.8862088102787</c:v>
                </c:pt>
                <c:pt idx="183" formatCode="0">
                  <c:v>1942.6005630288876</c:v>
                </c:pt>
                <c:pt idx="184" formatCode="0">
                  <c:v>2038.9257851469695</c:v>
                </c:pt>
                <c:pt idx="185" formatCode="0">
                  <c:v>2139.9457091263325</c:v>
                </c:pt>
                <c:pt idx="186" formatCode="0">
                  <c:v>2245.7441689287866</c:v>
                </c:pt>
                <c:pt idx="187" formatCode="0">
                  <c:v>2356.6565004015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0F8-40A4-B203-95E23E79D55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789.54825231339817</c:v>
                </c:pt>
                <c:pt idx="165" formatCode="0">
                  <c:v>835.57309734631974</c:v>
                </c:pt>
                <c:pt idx="166" formatCode="0">
                  <c:v>884.69979896615962</c:v>
                </c:pt>
                <c:pt idx="167" formatCode="0">
                  <c:v>937.01219113472621</c:v>
                </c:pt>
                <c:pt idx="168" formatCode="0">
                  <c:v>992.92944366106258</c:v>
                </c:pt>
                <c:pt idx="169" formatCode="0">
                  <c:v>1052.7030584305946</c:v>
                </c:pt>
                <c:pt idx="170" formatCode="0">
                  <c:v>1116.6683712905567</c:v>
                </c:pt>
                <c:pt idx="171" formatCode="0">
                  <c:v>1184.3223784700972</c:v>
                </c:pt>
                <c:pt idx="172" formatCode="0">
                  <c:v>1260.0244459832634</c:v>
                </c:pt>
                <c:pt idx="173" formatCode="0">
                  <c:v>1340.5050493195199</c:v>
                </c:pt>
                <c:pt idx="174" formatCode="0">
                  <c:v>1426.2671922497179</c:v>
                </c:pt>
                <c:pt idx="175" formatCode="0">
                  <c:v>1517.6462106210925</c:v>
                </c:pt>
                <c:pt idx="176" formatCode="0">
                  <c:v>1614.8936063190688</c:v>
                </c:pt>
                <c:pt idx="177" formatCode="0">
                  <c:v>1718.260881229073</c:v>
                </c:pt>
                <c:pt idx="178" formatCode="0">
                  <c:v>1827.9995372365308</c:v>
                </c:pt>
                <c:pt idx="179" formatCode="0">
                  <c:v>1944.7802460359112</c:v>
                </c:pt>
                <c:pt idx="180" formatCode="0">
                  <c:v>2069.1060113980657</c:v>
                </c:pt>
                <c:pt idx="181" formatCode="0">
                  <c:v>2201.3960031320371</c:v>
                </c:pt>
                <c:pt idx="182" formatCode="0">
                  <c:v>2341.9855570850596</c:v>
                </c:pt>
                <c:pt idx="183" formatCode="0">
                  <c:v>2491.4615109897941</c:v>
                </c:pt>
                <c:pt idx="184" formatCode="0">
                  <c:v>2650.4107025789003</c:v>
                </c:pt>
                <c:pt idx="185" formatCode="0">
                  <c:v>2819.5038035468474</c:v>
                </c:pt>
                <c:pt idx="186" formatCode="0">
                  <c:v>2999.4114855881035</c:v>
                </c:pt>
                <c:pt idx="187" formatCode="0">
                  <c:v>3190.7205864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7-4169-846F-DF9410986C0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3.893627666873396</c:v>
                </c:pt>
                <c:pt idx="1">
                  <c:v>22.32069293018267</c:v>
                </c:pt>
                <c:pt idx="2">
                  <c:v>24.567742554026566</c:v>
                </c:pt>
                <c:pt idx="3">
                  <c:v>24.118332629257786</c:v>
                </c:pt>
                <c:pt idx="4">
                  <c:v>23.594021050360876</c:v>
                </c:pt>
                <c:pt idx="5">
                  <c:v>23.294414433848356</c:v>
                </c:pt>
                <c:pt idx="6">
                  <c:v>23.219512779720226</c:v>
                </c:pt>
                <c:pt idx="7">
                  <c:v>23.294414433848356</c:v>
                </c:pt>
                <c:pt idx="8">
                  <c:v>22.09598796779828</c:v>
                </c:pt>
                <c:pt idx="9">
                  <c:v>18.276003607263661</c:v>
                </c:pt>
                <c:pt idx="10">
                  <c:v>16.927773832957328</c:v>
                </c:pt>
                <c:pt idx="11">
                  <c:v>15.72934736690725</c:v>
                </c:pt>
                <c:pt idx="12">
                  <c:v>14.830527517369692</c:v>
                </c:pt>
                <c:pt idx="13">
                  <c:v>13.407396088935229</c:v>
                </c:pt>
                <c:pt idx="14">
                  <c:v>11.984264660500763</c:v>
                </c:pt>
                <c:pt idx="15">
                  <c:v>12.134067968757023</c:v>
                </c:pt>
                <c:pt idx="16">
                  <c:v>13.931707667832137</c:v>
                </c:pt>
                <c:pt idx="17">
                  <c:v>14.530920900857176</c:v>
                </c:pt>
                <c:pt idx="18">
                  <c:v>15.205035788010344</c:v>
                </c:pt>
                <c:pt idx="19">
                  <c:v>16.028953983419768</c:v>
                </c:pt>
                <c:pt idx="20">
                  <c:v>17.077577141213588</c:v>
                </c:pt>
                <c:pt idx="21">
                  <c:v>16.628167216444808</c:v>
                </c:pt>
                <c:pt idx="22">
                  <c:v>16.103855637547898</c:v>
                </c:pt>
                <c:pt idx="23">
                  <c:v>15.130134133882212</c:v>
                </c:pt>
                <c:pt idx="24">
                  <c:v>15.804249021035382</c:v>
                </c:pt>
                <c:pt idx="25">
                  <c:v>16.628167216444808</c:v>
                </c:pt>
                <c:pt idx="26">
                  <c:v>17.152478795341715</c:v>
                </c:pt>
                <c:pt idx="27">
                  <c:v>19.624233381570001</c:v>
                </c:pt>
                <c:pt idx="28">
                  <c:v>21.571676388901373</c:v>
                </c:pt>
                <c:pt idx="29">
                  <c:v>24.717545862282822</c:v>
                </c:pt>
                <c:pt idx="30">
                  <c:v>26.964595486126715</c:v>
                </c:pt>
                <c:pt idx="31">
                  <c:v>27.938316989792405</c:v>
                </c:pt>
                <c:pt idx="32">
                  <c:v>29.436350072354998</c:v>
                </c:pt>
                <c:pt idx="33">
                  <c:v>32.28261292922393</c:v>
                </c:pt>
                <c:pt idx="34">
                  <c:v>31.08418646317385</c:v>
                </c:pt>
                <c:pt idx="35">
                  <c:v>30.260268267764424</c:v>
                </c:pt>
                <c:pt idx="36">
                  <c:v>32.73202285399271</c:v>
                </c:pt>
                <c:pt idx="37">
                  <c:v>34.080252628299043</c:v>
                </c:pt>
                <c:pt idx="38">
                  <c:v>36.626908868655455</c:v>
                </c:pt>
                <c:pt idx="39">
                  <c:v>35.877892327374155</c:v>
                </c:pt>
                <c:pt idx="40">
                  <c:v>36.027695635630415</c:v>
                </c:pt>
                <c:pt idx="41">
                  <c:v>37.750433680577402</c:v>
                </c:pt>
                <c:pt idx="42">
                  <c:v>42.768844507162093</c:v>
                </c:pt>
                <c:pt idx="43">
                  <c:v>41.570418041112021</c:v>
                </c:pt>
                <c:pt idx="44">
                  <c:v>41.570418041112021</c:v>
                </c:pt>
                <c:pt idx="45">
                  <c:v>41.345713078727627</c:v>
                </c:pt>
                <c:pt idx="46">
                  <c:v>43.967270973212173</c:v>
                </c:pt>
                <c:pt idx="47">
                  <c:v>42.843746161290227</c:v>
                </c:pt>
                <c:pt idx="48">
                  <c:v>42.61904119890584</c:v>
                </c:pt>
                <c:pt idx="49">
                  <c:v>41.645319695240147</c:v>
                </c:pt>
                <c:pt idx="50">
                  <c:v>40.072384958549428</c:v>
                </c:pt>
                <c:pt idx="51">
                  <c:v>38.499450221858694</c:v>
                </c:pt>
                <c:pt idx="52">
                  <c:v>36.102597289758549</c:v>
                </c:pt>
                <c:pt idx="53">
                  <c:v>33.481039395274003</c:v>
                </c:pt>
                <c:pt idx="54">
                  <c:v>31.833203004455147</c:v>
                </c:pt>
                <c:pt idx="55">
                  <c:v>30.859481500789464</c:v>
                </c:pt>
                <c:pt idx="56">
                  <c:v>28.013218643920531</c:v>
                </c:pt>
                <c:pt idx="57">
                  <c:v>26.889693831998585</c:v>
                </c:pt>
                <c:pt idx="58">
                  <c:v>24.867349170539079</c:v>
                </c:pt>
                <c:pt idx="59">
                  <c:v>22.62029954669519</c:v>
                </c:pt>
                <c:pt idx="60">
                  <c:v>22.09598796779828</c:v>
                </c:pt>
                <c:pt idx="61">
                  <c:v>21.571676388901373</c:v>
                </c:pt>
                <c:pt idx="62">
                  <c:v>20.597954885235687</c:v>
                </c:pt>
                <c:pt idx="63">
                  <c:v>20.747758193491947</c:v>
                </c:pt>
                <c:pt idx="64">
                  <c:v>20.672856539363814</c:v>
                </c:pt>
                <c:pt idx="65">
                  <c:v>20.373249922851297</c:v>
                </c:pt>
                <c:pt idx="66">
                  <c:v>21.421873080645113</c:v>
                </c:pt>
                <c:pt idx="67">
                  <c:v>22.77010285495145</c:v>
                </c:pt>
                <c:pt idx="68">
                  <c:v>23.369316087976486</c:v>
                </c:pt>
                <c:pt idx="69">
                  <c:v>23.069709471463966</c:v>
                </c:pt>
                <c:pt idx="70">
                  <c:v>24.867349170539079</c:v>
                </c:pt>
                <c:pt idx="71">
                  <c:v>25.391660749435992</c:v>
                </c:pt>
                <c:pt idx="72">
                  <c:v>27.039497140254845</c:v>
                </c:pt>
                <c:pt idx="73">
                  <c:v>29.885759997123778</c:v>
                </c:pt>
                <c:pt idx="74">
                  <c:v>28.912038493458088</c:v>
                </c:pt>
                <c:pt idx="75">
                  <c:v>28.687333531073701</c:v>
                </c:pt>
                <c:pt idx="76">
                  <c:v>30.784579846661337</c:v>
                </c:pt>
                <c:pt idx="77">
                  <c:v>28.986940147586221</c:v>
                </c:pt>
                <c:pt idx="78">
                  <c:v>28.837136839329958</c:v>
                </c:pt>
                <c:pt idx="79">
                  <c:v>28.762235185201831</c:v>
                </c:pt>
                <c:pt idx="80">
                  <c:v>27.713612027408011</c:v>
                </c:pt>
                <c:pt idx="81">
                  <c:v>28.013218643920531</c:v>
                </c:pt>
                <c:pt idx="82">
                  <c:v>29.136743455842478</c:v>
                </c:pt>
                <c:pt idx="83">
                  <c:v>27.938316989792405</c:v>
                </c:pt>
                <c:pt idx="84">
                  <c:v>28.762235185201831</c:v>
                </c:pt>
                <c:pt idx="85">
                  <c:v>30.559874884276944</c:v>
                </c:pt>
                <c:pt idx="86">
                  <c:v>31.233989771430114</c:v>
                </c:pt>
                <c:pt idx="87">
                  <c:v>29.661055034739384</c:v>
                </c:pt>
                <c:pt idx="88">
                  <c:v>29.286546764098734</c:v>
                </c:pt>
                <c:pt idx="89">
                  <c:v>27.863415335664275</c:v>
                </c:pt>
                <c:pt idx="90">
                  <c:v>28.462628568689311</c:v>
                </c:pt>
                <c:pt idx="91">
                  <c:v>28.088120298048661</c:v>
                </c:pt>
                <c:pt idx="92">
                  <c:v>26.215578944845419</c:v>
                </c:pt>
                <c:pt idx="93">
                  <c:v>25.766169020076639</c:v>
                </c:pt>
                <c:pt idx="94">
                  <c:v>26.814792177870459</c:v>
                </c:pt>
                <c:pt idx="95">
                  <c:v>27.189300448511105</c:v>
                </c:pt>
                <c:pt idx="96">
                  <c:v>27.563808719151755</c:v>
                </c:pt>
                <c:pt idx="97">
                  <c:v>30.185366613636297</c:v>
                </c:pt>
                <c:pt idx="98">
                  <c:v>35.952793981502289</c:v>
                </c:pt>
                <c:pt idx="99">
                  <c:v>37.450827064064882</c:v>
                </c:pt>
                <c:pt idx="100">
                  <c:v>39.772778342036908</c:v>
                </c:pt>
                <c:pt idx="101">
                  <c:v>40.596696537446334</c:v>
                </c:pt>
                <c:pt idx="102">
                  <c:v>41.046106462215107</c:v>
                </c:pt>
                <c:pt idx="103">
                  <c:v>41.570418041112021</c:v>
                </c:pt>
                <c:pt idx="104">
                  <c:v>41.645319695240147</c:v>
                </c:pt>
                <c:pt idx="105">
                  <c:v>39.772778342036908</c:v>
                </c:pt>
                <c:pt idx="106">
                  <c:v>43.218254431930873</c:v>
                </c:pt>
                <c:pt idx="107">
                  <c:v>45.690009018159159</c:v>
                </c:pt>
                <c:pt idx="108">
                  <c:v>45.914713980543546</c:v>
                </c:pt>
                <c:pt idx="109">
                  <c:v>47.038238792465492</c:v>
                </c:pt>
                <c:pt idx="110">
                  <c:v>48.386468566771825</c:v>
                </c:pt>
                <c:pt idx="111">
                  <c:v>49.509993378693778</c:v>
                </c:pt>
                <c:pt idx="112">
                  <c:v>49.734698341078158</c:v>
                </c:pt>
                <c:pt idx="113">
                  <c:v>49.584895032821905</c:v>
                </c:pt>
                <c:pt idx="114">
                  <c:v>48.611173529156218</c:v>
                </c:pt>
                <c:pt idx="115">
                  <c:v>50.933124807128237</c:v>
                </c:pt>
                <c:pt idx="116">
                  <c:v>52.056649619050184</c:v>
                </c:pt>
                <c:pt idx="117">
                  <c:v>52.655862852075224</c:v>
                </c:pt>
                <c:pt idx="118">
                  <c:v>52.655862852075224</c:v>
                </c:pt>
                <c:pt idx="119">
                  <c:v>49.734698341078158</c:v>
                </c:pt>
                <c:pt idx="120">
                  <c:v>52.805666160331484</c:v>
                </c:pt>
                <c:pt idx="121">
                  <c:v>55.202519092431636</c:v>
                </c:pt>
                <c:pt idx="122">
                  <c:v>57.898978641044309</c:v>
                </c:pt>
                <c:pt idx="123">
                  <c:v>60.146028264888201</c:v>
                </c:pt>
                <c:pt idx="124">
                  <c:v>60.445634881400728</c:v>
                </c:pt>
                <c:pt idx="125">
                  <c:v>62.243274580475834</c:v>
                </c:pt>
                <c:pt idx="126">
                  <c:v>68.984423452007519</c:v>
                </c:pt>
                <c:pt idx="127">
                  <c:v>67.785996985957439</c:v>
                </c:pt>
                <c:pt idx="128">
                  <c:v>68.984423452007519</c:v>
                </c:pt>
                <c:pt idx="129">
                  <c:v>72.205194579517098</c:v>
                </c:pt>
                <c:pt idx="130">
                  <c:v>73.403621045567178</c:v>
                </c:pt>
                <c:pt idx="131">
                  <c:v>73.478522699695304</c:v>
                </c:pt>
                <c:pt idx="132">
                  <c:v>79.470655029945675</c:v>
                </c:pt>
                <c:pt idx="133">
                  <c:v>79.920064954714462</c:v>
                </c:pt>
                <c:pt idx="134">
                  <c:v>86.586312172117999</c:v>
                </c:pt>
                <c:pt idx="135">
                  <c:v>90.106689916140112</c:v>
                </c:pt>
                <c:pt idx="136">
                  <c:v>93.252559389521551</c:v>
                </c:pt>
                <c:pt idx="137">
                  <c:v>98.345871870234376</c:v>
                </c:pt>
                <c:pt idx="138">
                  <c:v>104.6376108169973</c:v>
                </c:pt>
                <c:pt idx="139">
                  <c:v>116.54697382336991</c:v>
                </c:pt>
                <c:pt idx="140">
                  <c:v>133.54964931045538</c:v>
                </c:pt>
                <c:pt idx="141">
                  <c:v>153.99780088743478</c:v>
                </c:pt>
                <c:pt idx="142">
                  <c:v>180.36318314053648</c:v>
                </c:pt>
                <c:pt idx="143">
                  <c:v>204.25681080740986</c:v>
                </c:pt>
                <c:pt idx="144">
                  <c:v>227.40142193300198</c:v>
                </c:pt>
                <c:pt idx="145">
                  <c:v>240.05980148065592</c:v>
                </c:pt>
                <c:pt idx="146">
                  <c:v>256.53816538884445</c:v>
                </c:pt>
                <c:pt idx="147">
                  <c:v>296.16114042262507</c:v>
                </c:pt>
                <c:pt idx="148">
                  <c:v>322.30181771334236</c:v>
                </c:pt>
                <c:pt idx="149">
                  <c:v>332.78804929128057</c:v>
                </c:pt>
                <c:pt idx="150">
                  <c:v>346.71975695911266</c:v>
                </c:pt>
                <c:pt idx="151">
                  <c:v>359.30323485263847</c:v>
                </c:pt>
                <c:pt idx="152">
                  <c:v>365.74477710765768</c:v>
                </c:pt>
                <c:pt idx="153">
                  <c:v>386.86704357179025</c:v>
                </c:pt>
                <c:pt idx="154">
                  <c:v>415.4794754487358</c:v>
                </c:pt>
                <c:pt idx="155">
                  <c:v>430.83431454500243</c:v>
                </c:pt>
                <c:pt idx="156">
                  <c:v>451.73187604675059</c:v>
                </c:pt>
                <c:pt idx="157">
                  <c:v>463.19182912835447</c:v>
                </c:pt>
                <c:pt idx="158">
                  <c:v>476.59922521728976</c:v>
                </c:pt>
                <c:pt idx="159">
                  <c:v>481.31802942736186</c:v>
                </c:pt>
                <c:pt idx="160">
                  <c:v>501.84108265846942</c:v>
                </c:pt>
                <c:pt idx="161">
                  <c:v>531.65194100146516</c:v>
                </c:pt>
                <c:pt idx="162">
                  <c:v>571.05021107286132</c:v>
                </c:pt>
                <c:pt idx="163">
                  <c:v>585.35642701133406</c:v>
                </c:pt>
                <c:pt idx="164">
                  <c:v>628.20017317262432</c:v>
                </c:pt>
                <c:pt idx="165">
                  <c:v>664.45257377063922</c:v>
                </c:pt>
                <c:pt idx="166">
                  <c:v>692.8403006852003</c:v>
                </c:pt>
                <c:pt idx="167">
                  <c:v>705.94809015762303</c:v>
                </c:pt>
                <c:pt idx="168">
                  <c:v>781.29915421052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397-4169-846F-DF9410986C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594.79403543147851</c:v>
                </c:pt>
                <c:pt idx="165" formatCode="0">
                  <c:v>613.96885888827967</c:v>
                </c:pt>
                <c:pt idx="166" formatCode="0">
                  <c:v>631.1962393377496</c:v>
                </c:pt>
                <c:pt idx="167" formatCode="0">
                  <c:v>647.6746032459381</c:v>
                </c:pt>
                <c:pt idx="168" formatCode="0">
                  <c:v>661.68121256789834</c:v>
                </c:pt>
                <c:pt idx="169" formatCode="0">
                  <c:v>671.86783752932399</c:v>
                </c:pt>
                <c:pt idx="170" formatCode="0">
                  <c:v>677.48546158893373</c:v>
                </c:pt>
                <c:pt idx="171" formatCode="0">
                  <c:v>687.37247993384688</c:v>
                </c:pt>
                <c:pt idx="172" formatCode="0">
                  <c:v>701.97830248883213</c:v>
                </c:pt>
                <c:pt idx="173" formatCode="0">
                  <c:v>716.88373166033</c:v>
                </c:pt>
                <c:pt idx="174" formatCode="0">
                  <c:v>730.29112774926523</c:v>
                </c:pt>
                <c:pt idx="175" formatCode="0">
                  <c:v>742.72480233453473</c:v>
                </c:pt>
                <c:pt idx="176" formatCode="0">
                  <c:v>755.23337857393244</c:v>
                </c:pt>
                <c:pt idx="177" formatCode="0">
                  <c:v>768.64077466286767</c:v>
                </c:pt>
                <c:pt idx="178" formatCode="0">
                  <c:v>783.54620383436543</c:v>
                </c:pt>
                <c:pt idx="179" formatCode="0">
                  <c:v>798.60143631411961</c:v>
                </c:pt>
                <c:pt idx="180" formatCode="0">
                  <c:v>813.20725886910475</c:v>
                </c:pt>
                <c:pt idx="181" formatCode="0">
                  <c:v>827.3636714993213</c:v>
                </c:pt>
                <c:pt idx="182" formatCode="0">
                  <c:v>842.04439570843488</c:v>
                </c:pt>
                <c:pt idx="183" formatCode="0">
                  <c:v>857.39923480470134</c:v>
                </c:pt>
                <c:pt idx="184" formatCode="0">
                  <c:v>873.35328713399315</c:v>
                </c:pt>
                <c:pt idx="185" formatCode="0">
                  <c:v>889.53204442566903</c:v>
                </c:pt>
                <c:pt idx="186" formatCode="0">
                  <c:v>905.63590006321692</c:v>
                </c:pt>
                <c:pt idx="187" formatCode="0">
                  <c:v>921.81465735489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397-4169-846F-DF9410986C0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598.16460986724428</c:v>
                </c:pt>
                <c:pt idx="165" formatCode="0">
                  <c:v>622.73235242127089</c:v>
                </c:pt>
                <c:pt idx="166" formatCode="0">
                  <c:v>646.77578339640058</c:v>
                </c:pt>
                <c:pt idx="167" formatCode="0">
                  <c:v>671.11882098804267</c:v>
                </c:pt>
                <c:pt idx="168" formatCode="0">
                  <c:v>694.56303873014735</c:v>
                </c:pt>
                <c:pt idx="169" formatCode="0">
                  <c:v>716.20961677317678</c:v>
                </c:pt>
                <c:pt idx="170" formatCode="0">
                  <c:v>735.45934188410615</c:v>
                </c:pt>
                <c:pt idx="171" formatCode="0">
                  <c:v>758.15454308492951</c:v>
                </c:pt>
                <c:pt idx="172" formatCode="0">
                  <c:v>785.6434501499532</c:v>
                </c:pt>
                <c:pt idx="173" formatCode="0">
                  <c:v>814.18098037277059</c:v>
                </c:pt>
                <c:pt idx="174" formatCode="0">
                  <c:v>842.41890397907548</c:v>
                </c:pt>
                <c:pt idx="175" formatCode="0">
                  <c:v>870.80663089363668</c:v>
                </c:pt>
                <c:pt idx="176" formatCode="0">
                  <c:v>900.0182760036073</c:v>
                </c:pt>
                <c:pt idx="177" formatCode="0">
                  <c:v>930.80285585026866</c:v>
                </c:pt>
                <c:pt idx="178" formatCode="0">
                  <c:v>963.53487870426136</c:v>
                </c:pt>
                <c:pt idx="179" formatCode="0">
                  <c:v>997.24062306191968</c:v>
                </c:pt>
                <c:pt idx="180" formatCode="0">
                  <c:v>1031.470678998475</c:v>
                </c:pt>
                <c:pt idx="181" formatCode="0">
                  <c:v>1066.4497514763116</c:v>
                </c:pt>
                <c:pt idx="182" formatCode="0">
                  <c:v>1102.7770537284546</c:v>
                </c:pt>
                <c:pt idx="183" formatCode="0">
                  <c:v>1140.7521923714162</c:v>
                </c:pt>
                <c:pt idx="184" formatCode="0">
                  <c:v>1180.2253640969407</c:v>
                </c:pt>
                <c:pt idx="185" formatCode="0">
                  <c:v>1220.8969622885152</c:v>
                </c:pt>
                <c:pt idx="186" formatCode="0">
                  <c:v>1262.6920852920116</c:v>
                </c:pt>
                <c:pt idx="187" formatCode="0">
                  <c:v>1305.76053641568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397-4169-846F-DF9410986C0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01.53518430301017</c:v>
                </c:pt>
                <c:pt idx="165" formatCode="0">
                  <c:v>631.4209443001339</c:v>
                </c:pt>
                <c:pt idx="166" formatCode="0">
                  <c:v>662.28042580092347</c:v>
                </c:pt>
                <c:pt idx="167" formatCode="0">
                  <c:v>694.48813707601914</c:v>
                </c:pt>
                <c:pt idx="168" formatCode="0">
                  <c:v>727.51976654652447</c:v>
                </c:pt>
                <c:pt idx="169" formatCode="0">
                  <c:v>761.00080594179838</c:v>
                </c:pt>
                <c:pt idx="170" formatCode="0">
                  <c:v>794.78145195358491</c:v>
                </c:pt>
                <c:pt idx="171" formatCode="0">
                  <c:v>831.40836082224041</c:v>
                </c:pt>
                <c:pt idx="172" formatCode="0">
                  <c:v>873.42818878812113</c:v>
                </c:pt>
                <c:pt idx="173" formatCode="0">
                  <c:v>917.54526306958951</c:v>
                </c:pt>
                <c:pt idx="174" formatCode="0">
                  <c:v>963.16037043362064</c:v>
                </c:pt>
                <c:pt idx="175" formatCode="0">
                  <c:v>1010.7229208049831</c:v>
                </c:pt>
                <c:pt idx="176" formatCode="0">
                  <c:v>1060.5325208001893</c:v>
                </c:pt>
                <c:pt idx="177" formatCode="0">
                  <c:v>1113.0385803440083</c:v>
                </c:pt>
                <c:pt idx="178" formatCode="0">
                  <c:v>1168.6156077070807</c:v>
                </c:pt>
                <c:pt idx="179" formatCode="0">
                  <c:v>1226.8890946187655</c:v>
                </c:pt>
                <c:pt idx="180" formatCode="0">
                  <c:v>1287.6343361166787</c:v>
                </c:pt>
                <c:pt idx="181" formatCode="0">
                  <c:v>1351.225840471461</c:v>
                </c:pt>
                <c:pt idx="182" formatCode="0">
                  <c:v>1417.9632142996245</c:v>
                </c:pt>
                <c:pt idx="183" formatCode="0">
                  <c:v>1488.2209658718102</c:v>
                </c:pt>
                <c:pt idx="184" formatCode="0">
                  <c:v>1562.0739968421462</c:v>
                </c:pt>
                <c:pt idx="185" formatCode="0">
                  <c:v>1639.5223072106326</c:v>
                </c:pt>
                <c:pt idx="186" formatCode="0">
                  <c:v>1720.5658969772687</c:v>
                </c:pt>
                <c:pt idx="187" formatCode="0">
                  <c:v>1805.5043727585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397-4169-846F-DF9410986C0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04.90575873877594</c:v>
                </c:pt>
                <c:pt idx="165" formatCode="0">
                  <c:v>640.18443783312512</c:v>
                </c:pt>
                <c:pt idx="166" formatCode="0">
                  <c:v>677.78506820544624</c:v>
                </c:pt>
                <c:pt idx="167" formatCode="0">
                  <c:v>717.78255150986752</c:v>
                </c:pt>
                <c:pt idx="168" formatCode="0">
                  <c:v>760.62629767115777</c:v>
                </c:pt>
                <c:pt idx="169" formatCode="0">
                  <c:v>806.39120834344499</c:v>
                </c:pt>
                <c:pt idx="170" formatCode="0">
                  <c:v>855.37689014324201</c:v>
                </c:pt>
                <c:pt idx="171" formatCode="0">
                  <c:v>907.20883479990766</c:v>
                </c:pt>
                <c:pt idx="172" formatCode="0">
                  <c:v>965.1827150950802</c:v>
                </c:pt>
                <c:pt idx="173" formatCode="0">
                  <c:v>1026.901678096659</c:v>
                </c:pt>
                <c:pt idx="174" formatCode="0">
                  <c:v>1092.665330421157</c:v>
                </c:pt>
                <c:pt idx="175" formatCode="0">
                  <c:v>1162.6983770309585</c:v>
                </c:pt>
                <c:pt idx="176" formatCode="0">
                  <c:v>1237.2255228884474</c:v>
                </c:pt>
                <c:pt idx="177" formatCode="0">
                  <c:v>1316.3965713018806</c:v>
                </c:pt>
                <c:pt idx="178" formatCode="0">
                  <c:v>1400.4362272336423</c:v>
                </c:pt>
                <c:pt idx="179" formatCode="0">
                  <c:v>1489.9437039167574</c:v>
                </c:pt>
                <c:pt idx="180" formatCode="0">
                  <c:v>1585.1437063136104</c:v>
                </c:pt>
                <c:pt idx="181" formatCode="0">
                  <c:v>1686.4856443489698</c:v>
                </c:pt>
                <c:pt idx="182" formatCode="0">
                  <c:v>1794.1942229852207</c:v>
                </c:pt>
                <c:pt idx="183" formatCode="0">
                  <c:v>1908.7188521471307</c:v>
                </c:pt>
                <c:pt idx="184" formatCode="0">
                  <c:v>2030.5089417594697</c:v>
                </c:pt>
                <c:pt idx="185" formatCode="0">
                  <c:v>2160.013901747006</c:v>
                </c:pt>
                <c:pt idx="186" formatCode="0">
                  <c:v>2297.7580436886369</c:v>
                </c:pt>
                <c:pt idx="187" formatCode="0">
                  <c:v>2444.3405808173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12</c:v>
                </c:pt>
                <c:pt idx="1">
                  <c:v>64</c:v>
                </c:pt>
                <c:pt idx="2">
                  <c:v>283</c:v>
                </c:pt>
                <c:pt idx="3">
                  <c:v>275</c:v>
                </c:pt>
                <c:pt idx="4">
                  <c:v>156</c:v>
                </c:pt>
                <c:pt idx="5">
                  <c:v>169</c:v>
                </c:pt>
                <c:pt idx="6">
                  <c:v>165</c:v>
                </c:pt>
                <c:pt idx="7">
                  <c:v>90</c:v>
                </c:pt>
                <c:pt idx="8">
                  <c:v>33</c:v>
                </c:pt>
                <c:pt idx="9">
                  <c:v>119</c:v>
                </c:pt>
                <c:pt idx="10">
                  <c:v>195</c:v>
                </c:pt>
                <c:pt idx="11">
                  <c:v>128</c:v>
                </c:pt>
                <c:pt idx="12">
                  <c:v>142</c:v>
                </c:pt>
                <c:pt idx="13">
                  <c:v>125</c:v>
                </c:pt>
                <c:pt idx="14">
                  <c:v>66</c:v>
                </c:pt>
                <c:pt idx="15">
                  <c:v>21</c:v>
                </c:pt>
                <c:pt idx="16">
                  <c:v>124</c:v>
                </c:pt>
                <c:pt idx="17">
                  <c:v>121</c:v>
                </c:pt>
                <c:pt idx="18">
                  <c:v>61</c:v>
                </c:pt>
                <c:pt idx="19">
                  <c:v>44</c:v>
                </c:pt>
                <c:pt idx="20">
                  <c:v>68</c:v>
                </c:pt>
                <c:pt idx="21">
                  <c:v>22</c:v>
                </c:pt>
                <c:pt idx="22">
                  <c:v>12</c:v>
                </c:pt>
                <c:pt idx="23">
                  <c:v>79</c:v>
                </c:pt>
                <c:pt idx="24">
                  <c:v>48</c:v>
                </c:pt>
                <c:pt idx="25">
                  <c:v>48</c:v>
                </c:pt>
                <c:pt idx="26">
                  <c:v>49</c:v>
                </c:pt>
                <c:pt idx="27">
                  <c:v>45</c:v>
                </c:pt>
                <c:pt idx="28">
                  <c:v>26</c:v>
                </c:pt>
                <c:pt idx="29">
                  <c:v>13</c:v>
                </c:pt>
                <c:pt idx="30">
                  <c:v>70</c:v>
                </c:pt>
                <c:pt idx="31">
                  <c:v>44</c:v>
                </c:pt>
                <c:pt idx="32">
                  <c:v>41</c:v>
                </c:pt>
                <c:pt idx="33">
                  <c:v>39</c:v>
                </c:pt>
                <c:pt idx="34">
                  <c:v>18</c:v>
                </c:pt>
                <c:pt idx="35">
                  <c:v>17</c:v>
                </c:pt>
                <c:pt idx="36">
                  <c:v>25</c:v>
                </c:pt>
                <c:pt idx="37">
                  <c:v>36</c:v>
                </c:pt>
                <c:pt idx="38">
                  <c:v>46</c:v>
                </c:pt>
                <c:pt idx="39">
                  <c:v>28</c:v>
                </c:pt>
                <c:pt idx="40">
                  <c:v>17</c:v>
                </c:pt>
                <c:pt idx="41">
                  <c:v>14</c:v>
                </c:pt>
                <c:pt idx="42">
                  <c:v>7</c:v>
                </c:pt>
                <c:pt idx="43">
                  <c:v>8</c:v>
                </c:pt>
                <c:pt idx="44">
                  <c:v>26</c:v>
                </c:pt>
                <c:pt idx="45">
                  <c:v>28</c:v>
                </c:pt>
                <c:pt idx="46">
                  <c:v>18</c:v>
                </c:pt>
                <c:pt idx="47">
                  <c:v>26</c:v>
                </c:pt>
                <c:pt idx="48">
                  <c:v>20</c:v>
                </c:pt>
                <c:pt idx="49">
                  <c:v>7</c:v>
                </c:pt>
                <c:pt idx="50">
                  <c:v>11</c:v>
                </c:pt>
                <c:pt idx="51">
                  <c:v>14</c:v>
                </c:pt>
                <c:pt idx="52">
                  <c:v>15</c:v>
                </c:pt>
                <c:pt idx="53">
                  <c:v>13</c:v>
                </c:pt>
                <c:pt idx="54">
                  <c:v>22</c:v>
                </c:pt>
                <c:pt idx="55">
                  <c:v>35</c:v>
                </c:pt>
                <c:pt idx="56">
                  <c:v>9</c:v>
                </c:pt>
                <c:pt idx="57">
                  <c:v>6</c:v>
                </c:pt>
                <c:pt idx="58">
                  <c:v>18</c:v>
                </c:pt>
                <c:pt idx="59">
                  <c:v>23</c:v>
                </c:pt>
                <c:pt idx="60">
                  <c:v>24</c:v>
                </c:pt>
                <c:pt idx="61">
                  <c:v>27</c:v>
                </c:pt>
                <c:pt idx="62">
                  <c:v>24</c:v>
                </c:pt>
                <c:pt idx="63">
                  <c:v>20</c:v>
                </c:pt>
                <c:pt idx="64">
                  <c:v>22</c:v>
                </c:pt>
                <c:pt idx="65">
                  <c:v>25</c:v>
                </c:pt>
                <c:pt idx="66">
                  <c:v>28</c:v>
                </c:pt>
                <c:pt idx="67">
                  <c:v>45</c:v>
                </c:pt>
                <c:pt idx="68">
                  <c:v>37</c:v>
                </c:pt>
                <c:pt idx="69">
                  <c:v>46</c:v>
                </c:pt>
                <c:pt idx="70">
                  <c:v>38</c:v>
                </c:pt>
                <c:pt idx="71">
                  <c:v>31</c:v>
                </c:pt>
                <c:pt idx="72">
                  <c:v>44</c:v>
                </c:pt>
                <c:pt idx="73">
                  <c:v>48</c:v>
                </c:pt>
                <c:pt idx="74">
                  <c:v>53</c:v>
                </c:pt>
                <c:pt idx="75">
                  <c:v>38</c:v>
                </c:pt>
                <c:pt idx="76">
                  <c:v>48</c:v>
                </c:pt>
                <c:pt idx="77">
                  <c:v>33</c:v>
                </c:pt>
                <c:pt idx="78">
                  <c:v>20</c:v>
                </c:pt>
                <c:pt idx="79">
                  <c:v>38</c:v>
                </c:pt>
                <c:pt idx="80">
                  <c:v>63</c:v>
                </c:pt>
                <c:pt idx="81">
                  <c:v>31</c:v>
                </c:pt>
                <c:pt idx="82">
                  <c:v>29</c:v>
                </c:pt>
                <c:pt idx="83">
                  <c:v>34</c:v>
                </c:pt>
                <c:pt idx="84">
                  <c:v>30</c:v>
                </c:pt>
                <c:pt idx="85">
                  <c:v>9</c:v>
                </c:pt>
                <c:pt idx="86">
                  <c:v>38</c:v>
                </c:pt>
                <c:pt idx="87">
                  <c:v>29</c:v>
                </c:pt>
                <c:pt idx="88">
                  <c:v>28</c:v>
                </c:pt>
                <c:pt idx="89">
                  <c:v>36</c:v>
                </c:pt>
                <c:pt idx="90">
                  <c:v>17</c:v>
                </c:pt>
                <c:pt idx="91">
                  <c:v>25</c:v>
                </c:pt>
                <c:pt idx="92">
                  <c:v>10</c:v>
                </c:pt>
                <c:pt idx="93">
                  <c:v>25</c:v>
                </c:pt>
                <c:pt idx="94">
                  <c:v>42</c:v>
                </c:pt>
                <c:pt idx="95">
                  <c:v>26</c:v>
                </c:pt>
                <c:pt idx="96">
                  <c:v>22</c:v>
                </c:pt>
                <c:pt idx="97">
                  <c:v>25</c:v>
                </c:pt>
                <c:pt idx="98">
                  <c:v>29</c:v>
                </c:pt>
                <c:pt idx="99">
                  <c:v>20</c:v>
                </c:pt>
                <c:pt idx="100">
                  <c:v>18</c:v>
                </c:pt>
                <c:pt idx="101">
                  <c:v>39</c:v>
                </c:pt>
                <c:pt idx="102">
                  <c:v>42</c:v>
                </c:pt>
                <c:pt idx="103">
                  <c:v>30</c:v>
                </c:pt>
                <c:pt idx="104">
                  <c:v>35</c:v>
                </c:pt>
                <c:pt idx="105">
                  <c:v>24</c:v>
                </c:pt>
                <c:pt idx="106">
                  <c:v>10</c:v>
                </c:pt>
                <c:pt idx="107">
                  <c:v>18</c:v>
                </c:pt>
                <c:pt idx="108">
                  <c:v>40</c:v>
                </c:pt>
                <c:pt idx="109">
                  <c:v>38</c:v>
                </c:pt>
                <c:pt idx="110">
                  <c:v>23</c:v>
                </c:pt>
                <c:pt idx="111">
                  <c:v>28</c:v>
                </c:pt>
                <c:pt idx="112">
                  <c:v>22</c:v>
                </c:pt>
                <c:pt idx="113">
                  <c:v>25</c:v>
                </c:pt>
                <c:pt idx="114">
                  <c:v>44</c:v>
                </c:pt>
                <c:pt idx="115">
                  <c:v>36</c:v>
                </c:pt>
                <c:pt idx="116">
                  <c:v>32</c:v>
                </c:pt>
                <c:pt idx="117">
                  <c:v>41</c:v>
                </c:pt>
                <c:pt idx="118">
                  <c:v>33</c:v>
                </c:pt>
                <c:pt idx="119">
                  <c:v>26</c:v>
                </c:pt>
                <c:pt idx="120">
                  <c:v>20</c:v>
                </c:pt>
                <c:pt idx="121">
                  <c:v>40</c:v>
                </c:pt>
                <c:pt idx="122">
                  <c:v>26</c:v>
                </c:pt>
                <c:pt idx="123">
                  <c:v>35</c:v>
                </c:pt>
                <c:pt idx="124">
                  <c:v>45</c:v>
                </c:pt>
                <c:pt idx="125">
                  <c:v>41</c:v>
                </c:pt>
                <c:pt idx="126">
                  <c:v>29</c:v>
                </c:pt>
                <c:pt idx="127">
                  <c:v>18</c:v>
                </c:pt>
                <c:pt idx="128">
                  <c:v>44</c:v>
                </c:pt>
                <c:pt idx="129">
                  <c:v>101</c:v>
                </c:pt>
                <c:pt idx="130">
                  <c:v>40</c:v>
                </c:pt>
                <c:pt idx="131">
                  <c:v>55</c:v>
                </c:pt>
                <c:pt idx="132">
                  <c:v>68</c:v>
                </c:pt>
                <c:pt idx="133">
                  <c:v>34</c:v>
                </c:pt>
                <c:pt idx="134">
                  <c:v>20</c:v>
                </c:pt>
                <c:pt idx="135">
                  <c:v>79</c:v>
                </c:pt>
                <c:pt idx="136">
                  <c:v>72</c:v>
                </c:pt>
                <c:pt idx="137">
                  <c:v>70</c:v>
                </c:pt>
                <c:pt idx="138">
                  <c:v>83</c:v>
                </c:pt>
                <c:pt idx="139">
                  <c:v>59</c:v>
                </c:pt>
                <c:pt idx="140">
                  <c:v>47</c:v>
                </c:pt>
                <c:pt idx="141">
                  <c:v>21</c:v>
                </c:pt>
                <c:pt idx="142">
                  <c:v>76</c:v>
                </c:pt>
                <c:pt idx="143">
                  <c:v>84</c:v>
                </c:pt>
                <c:pt idx="144">
                  <c:v>87</c:v>
                </c:pt>
                <c:pt idx="145">
                  <c:v>72</c:v>
                </c:pt>
                <c:pt idx="146">
                  <c:v>88</c:v>
                </c:pt>
                <c:pt idx="147">
                  <c:v>54</c:v>
                </c:pt>
                <c:pt idx="148">
                  <c:v>43</c:v>
                </c:pt>
                <c:pt idx="149">
                  <c:v>96</c:v>
                </c:pt>
                <c:pt idx="150">
                  <c:v>82</c:v>
                </c:pt>
                <c:pt idx="151">
                  <c:v>92</c:v>
                </c:pt>
                <c:pt idx="152">
                  <c:v>140</c:v>
                </c:pt>
                <c:pt idx="153">
                  <c:v>126</c:v>
                </c:pt>
                <c:pt idx="154">
                  <c:v>85</c:v>
                </c:pt>
                <c:pt idx="155">
                  <c:v>33</c:v>
                </c:pt>
                <c:pt idx="156">
                  <c:v>93</c:v>
                </c:pt>
                <c:pt idx="157">
                  <c:v>149</c:v>
                </c:pt>
                <c:pt idx="158">
                  <c:v>148</c:v>
                </c:pt>
                <c:pt idx="159">
                  <c:v>125</c:v>
                </c:pt>
                <c:pt idx="160">
                  <c:v>108</c:v>
                </c:pt>
                <c:pt idx="161">
                  <c:v>98</c:v>
                </c:pt>
                <c:pt idx="162">
                  <c:v>33</c:v>
                </c:pt>
                <c:pt idx="163">
                  <c:v>145</c:v>
                </c:pt>
                <c:pt idx="164">
                  <c:v>156</c:v>
                </c:pt>
                <c:pt idx="165">
                  <c:v>177</c:v>
                </c:pt>
                <c:pt idx="166">
                  <c:v>174</c:v>
                </c:pt>
                <c:pt idx="167">
                  <c:v>172</c:v>
                </c:pt>
                <c:pt idx="168">
                  <c:v>139</c:v>
                </c:pt>
                <c:pt idx="169">
                  <c:v>92</c:v>
                </c:pt>
                <c:pt idx="170">
                  <c:v>310</c:v>
                </c:pt>
                <c:pt idx="171">
                  <c:v>394</c:v>
                </c:pt>
                <c:pt idx="172">
                  <c:v>361</c:v>
                </c:pt>
                <c:pt idx="173">
                  <c:v>453</c:v>
                </c:pt>
                <c:pt idx="174">
                  <c:v>429</c:v>
                </c:pt>
                <c:pt idx="175">
                  <c:v>329</c:v>
                </c:pt>
                <c:pt idx="176">
                  <c:v>215</c:v>
                </c:pt>
                <c:pt idx="177">
                  <c:v>482</c:v>
                </c:pt>
                <c:pt idx="178">
                  <c:v>671</c:v>
                </c:pt>
                <c:pt idx="179">
                  <c:v>624</c:v>
                </c:pt>
                <c:pt idx="180">
                  <c:v>530</c:v>
                </c:pt>
                <c:pt idx="181">
                  <c:v>606</c:v>
                </c:pt>
                <c:pt idx="182">
                  <c:v>632</c:v>
                </c:pt>
                <c:pt idx="183">
                  <c:v>336</c:v>
                </c:pt>
                <c:pt idx="184">
                  <c:v>785</c:v>
                </c:pt>
                <c:pt idx="185">
                  <c:v>1184</c:v>
                </c:pt>
                <c:pt idx="186">
                  <c:v>1133</c:v>
                </c:pt>
                <c:pt idx="187">
                  <c:v>976</c:v>
                </c:pt>
                <c:pt idx="188">
                  <c:v>977</c:v>
                </c:pt>
                <c:pt idx="189">
                  <c:v>757</c:v>
                </c:pt>
                <c:pt idx="190">
                  <c:v>419</c:v>
                </c:pt>
                <c:pt idx="191">
                  <c:v>1045</c:v>
                </c:pt>
                <c:pt idx="192">
                  <c:v>1825</c:v>
                </c:pt>
                <c:pt idx="193">
                  <c:v>1711</c:v>
                </c:pt>
                <c:pt idx="194">
                  <c:v>1112</c:v>
                </c:pt>
                <c:pt idx="195">
                  <c:v>1549</c:v>
                </c:pt>
                <c:pt idx="196">
                  <c:v>1389</c:v>
                </c:pt>
                <c:pt idx="197">
                  <c:v>827</c:v>
                </c:pt>
                <c:pt idx="198">
                  <c:v>1255</c:v>
                </c:pt>
                <c:pt idx="199">
                  <c:v>2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1A-4DA9-AEBB-75C7990459F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1516</c:v>
                </c:pt>
                <c:pt idx="196">
                  <c:v>1520</c:v>
                </c:pt>
                <c:pt idx="197">
                  <c:v>1562</c:v>
                </c:pt>
                <c:pt idx="198">
                  <c:v>1628</c:v>
                </c:pt>
                <c:pt idx="199">
                  <c:v>1669</c:v>
                </c:pt>
                <c:pt idx="200">
                  <c:v>1694</c:v>
                </c:pt>
                <c:pt idx="201">
                  <c:v>1711</c:v>
                </c:pt>
                <c:pt idx="202">
                  <c:v>1724</c:v>
                </c:pt>
                <c:pt idx="203">
                  <c:v>1764</c:v>
                </c:pt>
                <c:pt idx="204">
                  <c:v>1811</c:v>
                </c:pt>
                <c:pt idx="205">
                  <c:v>1852</c:v>
                </c:pt>
                <c:pt idx="206">
                  <c:v>1878</c:v>
                </c:pt>
                <c:pt idx="207">
                  <c:v>1904</c:v>
                </c:pt>
                <c:pt idx="208">
                  <c:v>1936</c:v>
                </c:pt>
                <c:pt idx="209">
                  <c:v>1975</c:v>
                </c:pt>
                <c:pt idx="210">
                  <c:v>2017</c:v>
                </c:pt>
                <c:pt idx="211">
                  <c:v>2055</c:v>
                </c:pt>
                <c:pt idx="212">
                  <c:v>2089</c:v>
                </c:pt>
                <c:pt idx="213">
                  <c:v>2123</c:v>
                </c:pt>
                <c:pt idx="214">
                  <c:v>2161</c:v>
                </c:pt>
                <c:pt idx="215">
                  <c:v>2203</c:v>
                </c:pt>
                <c:pt idx="216">
                  <c:v>2245</c:v>
                </c:pt>
                <c:pt idx="217">
                  <c:v>2286</c:v>
                </c:pt>
                <c:pt idx="218">
                  <c:v>2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1A-4DA9-AEBB-75C7990459F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1570</c:v>
                </c:pt>
                <c:pt idx="196">
                  <c:v>1610</c:v>
                </c:pt>
                <c:pt idx="197">
                  <c:v>1676</c:v>
                </c:pt>
                <c:pt idx="198">
                  <c:v>1759</c:v>
                </c:pt>
                <c:pt idx="199">
                  <c:v>1827</c:v>
                </c:pt>
                <c:pt idx="200">
                  <c:v>1886</c:v>
                </c:pt>
                <c:pt idx="201">
                  <c:v>1941</c:v>
                </c:pt>
                <c:pt idx="202">
                  <c:v>1995</c:v>
                </c:pt>
                <c:pt idx="203">
                  <c:v>2071</c:v>
                </c:pt>
                <c:pt idx="204">
                  <c:v>2153</c:v>
                </c:pt>
                <c:pt idx="205">
                  <c:v>2232</c:v>
                </c:pt>
                <c:pt idx="206">
                  <c:v>2303</c:v>
                </c:pt>
                <c:pt idx="207">
                  <c:v>2376</c:v>
                </c:pt>
                <c:pt idx="208">
                  <c:v>2456</c:v>
                </c:pt>
                <c:pt idx="209">
                  <c:v>2543</c:v>
                </c:pt>
                <c:pt idx="210">
                  <c:v>2635</c:v>
                </c:pt>
                <c:pt idx="211">
                  <c:v>2727</c:v>
                </c:pt>
                <c:pt idx="212">
                  <c:v>2818</c:v>
                </c:pt>
                <c:pt idx="213">
                  <c:v>2911</c:v>
                </c:pt>
                <c:pt idx="214">
                  <c:v>3011</c:v>
                </c:pt>
                <c:pt idx="215">
                  <c:v>3116</c:v>
                </c:pt>
                <c:pt idx="216">
                  <c:v>3225</c:v>
                </c:pt>
                <c:pt idx="217">
                  <c:v>3335</c:v>
                </c:pt>
                <c:pt idx="218">
                  <c:v>3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1A-4DA9-AEBB-75C7990459F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1625</c:v>
                </c:pt>
                <c:pt idx="196">
                  <c:v>1699</c:v>
                </c:pt>
                <c:pt idx="197">
                  <c:v>1789</c:v>
                </c:pt>
                <c:pt idx="198">
                  <c:v>1891</c:v>
                </c:pt>
                <c:pt idx="199">
                  <c:v>1988</c:v>
                </c:pt>
                <c:pt idx="200">
                  <c:v>2084</c:v>
                </c:pt>
                <c:pt idx="201">
                  <c:v>2183</c:v>
                </c:pt>
                <c:pt idx="202">
                  <c:v>2286</c:v>
                </c:pt>
                <c:pt idx="203">
                  <c:v>2403</c:v>
                </c:pt>
                <c:pt idx="204">
                  <c:v>2528</c:v>
                </c:pt>
                <c:pt idx="205">
                  <c:v>2656</c:v>
                </c:pt>
                <c:pt idx="206">
                  <c:v>2784</c:v>
                </c:pt>
                <c:pt idx="207">
                  <c:v>2919</c:v>
                </c:pt>
                <c:pt idx="208">
                  <c:v>3063</c:v>
                </c:pt>
                <c:pt idx="209">
                  <c:v>3216</c:v>
                </c:pt>
                <c:pt idx="210">
                  <c:v>3378</c:v>
                </c:pt>
                <c:pt idx="211">
                  <c:v>3546</c:v>
                </c:pt>
                <c:pt idx="212">
                  <c:v>3719</c:v>
                </c:pt>
                <c:pt idx="213">
                  <c:v>3902</c:v>
                </c:pt>
                <c:pt idx="214">
                  <c:v>4095</c:v>
                </c:pt>
                <c:pt idx="215">
                  <c:v>4299</c:v>
                </c:pt>
                <c:pt idx="216">
                  <c:v>4512</c:v>
                </c:pt>
                <c:pt idx="217">
                  <c:v>4735</c:v>
                </c:pt>
                <c:pt idx="218">
                  <c:v>4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1A-4DA9-AEBB-75C7990459F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1680</c:v>
                </c:pt>
                <c:pt idx="196">
                  <c:v>1789</c:v>
                </c:pt>
                <c:pt idx="197">
                  <c:v>1903</c:v>
                </c:pt>
                <c:pt idx="198">
                  <c:v>2022</c:v>
                </c:pt>
                <c:pt idx="199">
                  <c:v>2151</c:v>
                </c:pt>
                <c:pt idx="200">
                  <c:v>2290</c:v>
                </c:pt>
                <c:pt idx="201">
                  <c:v>2438</c:v>
                </c:pt>
                <c:pt idx="202">
                  <c:v>2596</c:v>
                </c:pt>
                <c:pt idx="203">
                  <c:v>2761</c:v>
                </c:pt>
                <c:pt idx="204">
                  <c:v>2936</c:v>
                </c:pt>
                <c:pt idx="205">
                  <c:v>3123</c:v>
                </c:pt>
                <c:pt idx="206">
                  <c:v>3324</c:v>
                </c:pt>
                <c:pt idx="207">
                  <c:v>3537</c:v>
                </c:pt>
                <c:pt idx="208">
                  <c:v>3764</c:v>
                </c:pt>
                <c:pt idx="209">
                  <c:v>4003</c:v>
                </c:pt>
                <c:pt idx="210">
                  <c:v>4258</c:v>
                </c:pt>
                <c:pt idx="211">
                  <c:v>4530</c:v>
                </c:pt>
                <c:pt idx="212">
                  <c:v>4820</c:v>
                </c:pt>
                <c:pt idx="213">
                  <c:v>5128</c:v>
                </c:pt>
                <c:pt idx="214">
                  <c:v>5455</c:v>
                </c:pt>
                <c:pt idx="215">
                  <c:v>5802</c:v>
                </c:pt>
                <c:pt idx="216">
                  <c:v>6172</c:v>
                </c:pt>
                <c:pt idx="217">
                  <c:v>6566</c:v>
                </c:pt>
                <c:pt idx="218">
                  <c:v>6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535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AF-41D6-8405-081FF68E574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1.101618959125091</c:v>
                </c:pt>
                <c:pt idx="1">
                  <c:v>20.60090257704416</c:v>
                </c:pt>
                <c:pt idx="2">
                  <c:v>19.885593459785678</c:v>
                </c:pt>
                <c:pt idx="3">
                  <c:v>17.954258843187787</c:v>
                </c:pt>
                <c:pt idx="4">
                  <c:v>17.310480637655161</c:v>
                </c:pt>
                <c:pt idx="5">
                  <c:v>18.168851578365334</c:v>
                </c:pt>
                <c:pt idx="6">
                  <c:v>15.736800579686509</c:v>
                </c:pt>
                <c:pt idx="7">
                  <c:v>15.879862403138205</c:v>
                </c:pt>
                <c:pt idx="8">
                  <c:v>14.949960550702183</c:v>
                </c:pt>
                <c:pt idx="9">
                  <c:v>13.376280492733532</c:v>
                </c:pt>
                <c:pt idx="10">
                  <c:v>13.090156845830142</c:v>
                </c:pt>
                <c:pt idx="11">
                  <c:v>12.374847728571664</c:v>
                </c:pt>
                <c:pt idx="12">
                  <c:v>11.158822229232252</c:v>
                </c:pt>
                <c:pt idx="13">
                  <c:v>10.443513111973774</c:v>
                </c:pt>
                <c:pt idx="14">
                  <c:v>9.155956700908515</c:v>
                </c:pt>
                <c:pt idx="15">
                  <c:v>8.4406475836500352</c:v>
                </c:pt>
                <c:pt idx="16">
                  <c:v>9.0844257891826672</c:v>
                </c:pt>
                <c:pt idx="17">
                  <c:v>9.5136112595377522</c:v>
                </c:pt>
                <c:pt idx="18">
                  <c:v>9.5136112595377522</c:v>
                </c:pt>
                <c:pt idx="19">
                  <c:v>9.7282039947152956</c:v>
                </c:pt>
                <c:pt idx="20">
                  <c:v>8.8698330540051238</c:v>
                </c:pt>
                <c:pt idx="21">
                  <c:v>7.9399312015691024</c:v>
                </c:pt>
                <c:pt idx="22">
                  <c:v>7.5822766429398634</c:v>
                </c:pt>
                <c:pt idx="23">
                  <c:v>7.2961529960364722</c:v>
                </c:pt>
                <c:pt idx="24">
                  <c:v>8.3691166719241874</c:v>
                </c:pt>
                <c:pt idx="25">
                  <c:v>8.5121784953758848</c:v>
                </c:pt>
                <c:pt idx="26">
                  <c:v>8.1545239367466458</c:v>
                </c:pt>
                <c:pt idx="27">
                  <c:v>8.4406475836500352</c:v>
                </c:pt>
                <c:pt idx="28">
                  <c:v>9.0128948774568194</c:v>
                </c:pt>
                <c:pt idx="29">
                  <c:v>9.7997349064411434</c:v>
                </c:pt>
                <c:pt idx="30">
                  <c:v>10.157389465070382</c:v>
                </c:pt>
                <c:pt idx="31">
                  <c:v>9.3705494360860566</c:v>
                </c:pt>
                <c:pt idx="32">
                  <c:v>10.157389465070382</c:v>
                </c:pt>
                <c:pt idx="33">
                  <c:v>11.301884052683947</c:v>
                </c:pt>
                <c:pt idx="34">
                  <c:v>11.802600434764882</c:v>
                </c:pt>
                <c:pt idx="35">
                  <c:v>12.160254993394121</c:v>
                </c:pt>
                <c:pt idx="36">
                  <c:v>13.662404139636923</c:v>
                </c:pt>
                <c:pt idx="37">
                  <c:v>14.377713256895401</c:v>
                </c:pt>
                <c:pt idx="38">
                  <c:v>15.951393314864051</c:v>
                </c:pt>
                <c:pt idx="39">
                  <c:v>17.238949725929313</c:v>
                </c:pt>
                <c:pt idx="40">
                  <c:v>17.882727931461943</c:v>
                </c:pt>
                <c:pt idx="41">
                  <c:v>19.241815254253051</c:v>
                </c:pt>
                <c:pt idx="42">
                  <c:v>20.672433488770004</c:v>
                </c:pt>
                <c:pt idx="43">
                  <c:v>21.244680782576786</c:v>
                </c:pt>
                <c:pt idx="44">
                  <c:v>21.316211694302634</c:v>
                </c:pt>
                <c:pt idx="45">
                  <c:v>21.45927351775433</c:v>
                </c:pt>
                <c:pt idx="46">
                  <c:v>21.101618959125091</c:v>
                </c:pt>
                <c:pt idx="47">
                  <c:v>20.314778930140765</c:v>
                </c:pt>
                <c:pt idx="48">
                  <c:v>19.885593459785678</c:v>
                </c:pt>
                <c:pt idx="49">
                  <c:v>20.958557135673395</c:v>
                </c:pt>
                <c:pt idx="50">
                  <c:v>19.384877077704747</c:v>
                </c:pt>
                <c:pt idx="51">
                  <c:v>18.741098872172113</c:v>
                </c:pt>
                <c:pt idx="52">
                  <c:v>17.739666108010248</c:v>
                </c:pt>
                <c:pt idx="53">
                  <c:v>17.525073372832701</c:v>
                </c:pt>
                <c:pt idx="54">
                  <c:v>16.738233343848375</c:v>
                </c:pt>
                <c:pt idx="55">
                  <c:v>16.738233343848375</c:v>
                </c:pt>
                <c:pt idx="56">
                  <c:v>14.306182345169551</c:v>
                </c:pt>
                <c:pt idx="57">
                  <c:v>14.09158960999201</c:v>
                </c:pt>
                <c:pt idx="58">
                  <c:v>14.592305992072944</c:v>
                </c:pt>
                <c:pt idx="59">
                  <c:v>13.376280492733532</c:v>
                </c:pt>
                <c:pt idx="60">
                  <c:v>13.018625934104293</c:v>
                </c:pt>
                <c:pt idx="61">
                  <c:v>13.090156845830142</c:v>
                </c:pt>
                <c:pt idx="62">
                  <c:v>12.160254993394121</c:v>
                </c:pt>
                <c:pt idx="63">
                  <c:v>13.090156845830142</c:v>
                </c:pt>
                <c:pt idx="64">
                  <c:v>12.947095022378447</c:v>
                </c:pt>
                <c:pt idx="65">
                  <c:v>11.945662258216577</c:v>
                </c:pt>
                <c:pt idx="66">
                  <c:v>12.51790955202336</c:v>
                </c:pt>
                <c:pt idx="67">
                  <c:v>12.804033198926751</c:v>
                </c:pt>
                <c:pt idx="68">
                  <c:v>13.519342316185227</c:v>
                </c:pt>
                <c:pt idx="69">
                  <c:v>13.018625934104293</c:v>
                </c:pt>
                <c:pt idx="70">
                  <c:v>12.804033198926751</c:v>
                </c:pt>
                <c:pt idx="71">
                  <c:v>13.948527786540314</c:v>
                </c:pt>
                <c:pt idx="72">
                  <c:v>14.520775080347097</c:v>
                </c:pt>
                <c:pt idx="73">
                  <c:v>15.236084197605576</c:v>
                </c:pt>
                <c:pt idx="74">
                  <c:v>14.878429638976336</c:v>
                </c:pt>
                <c:pt idx="75">
                  <c:v>14.163120521717859</c:v>
                </c:pt>
                <c:pt idx="76">
                  <c:v>14.163120521717859</c:v>
                </c:pt>
                <c:pt idx="77">
                  <c:v>14.234651433443705</c:v>
                </c:pt>
                <c:pt idx="78">
                  <c:v>13.948527786540314</c:v>
                </c:pt>
                <c:pt idx="79">
                  <c:v>13.447811404459381</c:v>
                </c:pt>
                <c:pt idx="80">
                  <c:v>12.947095022378447</c:v>
                </c:pt>
                <c:pt idx="81">
                  <c:v>12.804033198926751</c:v>
                </c:pt>
                <c:pt idx="82">
                  <c:v>13.876996874814468</c:v>
                </c:pt>
                <c:pt idx="83">
                  <c:v>15.736800579686509</c:v>
                </c:pt>
                <c:pt idx="84">
                  <c:v>15.450676932783118</c:v>
                </c:pt>
                <c:pt idx="85">
                  <c:v>15.021491462428031</c:v>
                </c:pt>
                <c:pt idx="86">
                  <c:v>16.309047873493292</c:v>
                </c:pt>
                <c:pt idx="87">
                  <c:v>16.666702432122531</c:v>
                </c:pt>
                <c:pt idx="88">
                  <c:v>16.952826079025922</c:v>
                </c:pt>
                <c:pt idx="89">
                  <c:v>16.595171520396679</c:v>
                </c:pt>
                <c:pt idx="90">
                  <c:v>16.309047873493292</c:v>
                </c:pt>
                <c:pt idx="91">
                  <c:v>15.593738756234814</c:v>
                </c:pt>
                <c:pt idx="92">
                  <c:v>15.808331491412355</c:v>
                </c:pt>
                <c:pt idx="93">
                  <c:v>16.094455138315748</c:v>
                </c:pt>
                <c:pt idx="94">
                  <c:v>16.666702432122531</c:v>
                </c:pt>
                <c:pt idx="95">
                  <c:v>16.88129516730007</c:v>
                </c:pt>
                <c:pt idx="96">
                  <c:v>16.738233343848375</c:v>
                </c:pt>
                <c:pt idx="97">
                  <c:v>17.02435699075177</c:v>
                </c:pt>
                <c:pt idx="98">
                  <c:v>22.389175370190351</c:v>
                </c:pt>
                <c:pt idx="99">
                  <c:v>22.74682992881959</c:v>
                </c:pt>
                <c:pt idx="100">
                  <c:v>23.462139046078068</c:v>
                </c:pt>
                <c:pt idx="101">
                  <c:v>25.393473662675959</c:v>
                </c:pt>
                <c:pt idx="102">
                  <c:v>25.751128221305194</c:v>
                </c:pt>
                <c:pt idx="103">
                  <c:v>25.894190044756893</c:v>
                </c:pt>
                <c:pt idx="104">
                  <c:v>28.397771955161566</c:v>
                </c:pt>
                <c:pt idx="105">
                  <c:v>26.323375515111977</c:v>
                </c:pt>
                <c:pt idx="106">
                  <c:v>28.469302866887411</c:v>
                </c:pt>
                <c:pt idx="107">
                  <c:v>30.472168395211153</c:v>
                </c:pt>
                <c:pt idx="108">
                  <c:v>29.828390189678515</c:v>
                </c:pt>
                <c:pt idx="109">
                  <c:v>30.758292042114537</c:v>
                </c:pt>
                <c:pt idx="110">
                  <c:v>30.829822953840388</c:v>
                </c:pt>
                <c:pt idx="111">
                  <c:v>30.615230218662845</c:v>
                </c:pt>
                <c:pt idx="112">
                  <c:v>31.473601159373018</c:v>
                </c:pt>
                <c:pt idx="113">
                  <c:v>32.689626658712427</c:v>
                </c:pt>
                <c:pt idx="114">
                  <c:v>31.902786629728102</c:v>
                </c:pt>
                <c:pt idx="115">
                  <c:v>33.977183069777688</c:v>
                </c:pt>
                <c:pt idx="116">
                  <c:v>34.477899451858626</c:v>
                </c:pt>
                <c:pt idx="117">
                  <c:v>36.051579509827278</c:v>
                </c:pt>
                <c:pt idx="118">
                  <c:v>37.482197744344226</c:v>
                </c:pt>
                <c:pt idx="119">
                  <c:v>37.339135920892531</c:v>
                </c:pt>
                <c:pt idx="120">
                  <c:v>37.696790479521773</c:v>
                </c:pt>
                <c:pt idx="121">
                  <c:v>42.560892476879424</c:v>
                </c:pt>
                <c:pt idx="122">
                  <c:v>45.27906712246164</c:v>
                </c:pt>
                <c:pt idx="123">
                  <c:v>47.496525385962919</c:v>
                </c:pt>
                <c:pt idx="124">
                  <c:v>46.781216268704441</c:v>
                </c:pt>
                <c:pt idx="125">
                  <c:v>46.566623533526894</c:v>
                </c:pt>
                <c:pt idx="126">
                  <c:v>51.3591946191587</c:v>
                </c:pt>
                <c:pt idx="127">
                  <c:v>55.36492567580617</c:v>
                </c:pt>
                <c:pt idx="128">
                  <c:v>54.291961999918456</c:v>
                </c:pt>
                <c:pt idx="129">
                  <c:v>53.004405588853203</c:v>
                </c:pt>
                <c:pt idx="130">
                  <c:v>53.934307441289214</c:v>
                </c:pt>
                <c:pt idx="131">
                  <c:v>53.934307441289214</c:v>
                </c:pt>
                <c:pt idx="132">
                  <c:v>57.653914851033299</c:v>
                </c:pt>
                <c:pt idx="133">
                  <c:v>58.154631233114237</c:v>
                </c:pt>
                <c:pt idx="134">
                  <c:v>60.229027673163813</c:v>
                </c:pt>
                <c:pt idx="135">
                  <c:v>63.734042347730359</c:v>
                </c:pt>
                <c:pt idx="136">
                  <c:v>68.312020698184625</c:v>
                </c:pt>
                <c:pt idx="137">
                  <c:v>71.244788078944367</c:v>
                </c:pt>
                <c:pt idx="138">
                  <c:v>75.465111870769391</c:v>
                </c:pt>
                <c:pt idx="139">
                  <c:v>87.267712305534275</c:v>
                </c:pt>
                <c:pt idx="140">
                  <c:v>104.29206929628604</c:v>
                </c:pt>
                <c:pt idx="141">
                  <c:v>117.45375705384204</c:v>
                </c:pt>
                <c:pt idx="142">
                  <c:v>137.41088142535358</c:v>
                </c:pt>
                <c:pt idx="143">
                  <c:v>155.79432573889642</c:v>
                </c:pt>
                <c:pt idx="144">
                  <c:v>169.38519896680751</c:v>
                </c:pt>
                <c:pt idx="145">
                  <c:v>178.18350110908679</c:v>
                </c:pt>
                <c:pt idx="146">
                  <c:v>190.4868179259326</c:v>
                </c:pt>
                <c:pt idx="147">
                  <c:v>210.30088047399244</c:v>
                </c:pt>
                <c:pt idx="148">
                  <c:v>229.1135102578904</c:v>
                </c:pt>
                <c:pt idx="149">
                  <c:v>234.62139046078067</c:v>
                </c:pt>
                <c:pt idx="150">
                  <c:v>247.28236183625572</c:v>
                </c:pt>
                <c:pt idx="151">
                  <c:v>268.95622808918762</c:v>
                </c:pt>
                <c:pt idx="152">
                  <c:v>277.61146840801518</c:v>
                </c:pt>
                <c:pt idx="153">
                  <c:v>299.28533466094706</c:v>
                </c:pt>
                <c:pt idx="154">
                  <c:v>335.98069237630693</c:v>
                </c:pt>
                <c:pt idx="155">
                  <c:v>372.38992644476349</c:v>
                </c:pt>
                <c:pt idx="156">
                  <c:v>404.29271307449159</c:v>
                </c:pt>
                <c:pt idx="157">
                  <c:v>430.8306813247811</c:v>
                </c:pt>
                <c:pt idx="158">
                  <c:v>439.77204529051204</c:v>
                </c:pt>
                <c:pt idx="159">
                  <c:v>445.70911096375738</c:v>
                </c:pt>
                <c:pt idx="160">
                  <c:v>464.30714801247791</c:v>
                </c:pt>
                <c:pt idx="161">
                  <c:v>510.1584624287463</c:v>
                </c:pt>
                <c:pt idx="162">
                  <c:v>551.5033294062863</c:v>
                </c:pt>
                <c:pt idx="163">
                  <c:v>561.23153340100157</c:v>
                </c:pt>
                <c:pt idx="164">
                  <c:v>602.14721490818647</c:v>
                </c:pt>
                <c:pt idx="165">
                  <c:v>647.35475111892231</c:v>
                </c:pt>
                <c:pt idx="166">
                  <c:v>676.53936310306813</c:v>
                </c:pt>
                <c:pt idx="167">
                  <c:v>691.56085456549624</c:v>
                </c:pt>
                <c:pt idx="168">
                  <c:v>756.65398423601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AF-41D6-8405-081FF68E574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570.45902101363595</c:v>
                </c:pt>
                <c:pt idx="165" formatCode="0">
                  <c:v>588.84246532717884</c:v>
                </c:pt>
                <c:pt idx="166" formatCode="0">
                  <c:v>605.4376368475755</c:v>
                </c:pt>
                <c:pt idx="167" formatCode="0">
                  <c:v>621.31749925071369</c:v>
                </c:pt>
                <c:pt idx="168" formatCode="0">
                  <c:v>634.69377974344718</c:v>
                </c:pt>
                <c:pt idx="169" formatCode="0">
                  <c:v>644.49351464988843</c:v>
                </c:pt>
                <c:pt idx="170" formatCode="0">
                  <c:v>649.85833302932701</c:v>
                </c:pt>
                <c:pt idx="171" formatCode="0">
                  <c:v>659.30041337713885</c:v>
                </c:pt>
                <c:pt idx="172" formatCode="0">
                  <c:v>673.32047207540506</c:v>
                </c:pt>
                <c:pt idx="173" formatCode="0">
                  <c:v>687.62665442057448</c:v>
                </c:pt>
                <c:pt idx="174" formatCode="0">
                  <c:v>700.43068761950133</c:v>
                </c:pt>
                <c:pt idx="175" formatCode="0">
                  <c:v>712.44788078944373</c:v>
                </c:pt>
                <c:pt idx="176" formatCode="0">
                  <c:v>724.46507395938625</c:v>
                </c:pt>
                <c:pt idx="177" formatCode="0">
                  <c:v>737.26910715831286</c:v>
                </c:pt>
                <c:pt idx="178" formatCode="0">
                  <c:v>751.57528950348251</c:v>
                </c:pt>
                <c:pt idx="179" formatCode="0">
                  <c:v>766.02453367210364</c:v>
                </c:pt>
                <c:pt idx="180" formatCode="0">
                  <c:v>779.973061458644</c:v>
                </c:pt>
                <c:pt idx="181" formatCode="0">
                  <c:v>793.56393468655517</c:v>
                </c:pt>
                <c:pt idx="182" formatCode="0">
                  <c:v>807.58399338482138</c:v>
                </c:pt>
                <c:pt idx="183" formatCode="0">
                  <c:v>822.31936120034584</c:v>
                </c:pt>
                <c:pt idx="184" formatCode="0">
                  <c:v>837.62697630967739</c:v>
                </c:pt>
                <c:pt idx="185" formatCode="0">
                  <c:v>853.14918415418629</c:v>
                </c:pt>
                <c:pt idx="186" formatCode="0">
                  <c:v>868.59986108696933</c:v>
                </c:pt>
                <c:pt idx="187" formatCode="0">
                  <c:v>884.12206893147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AF-41D6-8405-081FF68E574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573.67791204129912</c:v>
                </c:pt>
                <c:pt idx="165" formatCode="0">
                  <c:v>597.21158199910303</c:v>
                </c:pt>
                <c:pt idx="166" formatCode="0">
                  <c:v>620.3160664865519</c:v>
                </c:pt>
                <c:pt idx="167" formatCode="0">
                  <c:v>643.7066746209041</c:v>
                </c:pt>
                <c:pt idx="168" formatCode="0">
                  <c:v>666.16738090282024</c:v>
                </c:pt>
                <c:pt idx="169" formatCode="0">
                  <c:v>686.91134530331612</c:v>
                </c:pt>
                <c:pt idx="170" formatCode="0">
                  <c:v>705.36632052858477</c:v>
                </c:pt>
                <c:pt idx="171" formatCode="0">
                  <c:v>727.11171769324255</c:v>
                </c:pt>
                <c:pt idx="172" formatCode="0">
                  <c:v>753.50662412008046</c:v>
                </c:pt>
                <c:pt idx="173" formatCode="0">
                  <c:v>780.83143239935418</c:v>
                </c:pt>
                <c:pt idx="174" formatCode="0">
                  <c:v>807.94164794345045</c:v>
                </c:pt>
                <c:pt idx="175" formatCode="0">
                  <c:v>835.19492531099854</c:v>
                </c:pt>
                <c:pt idx="176" formatCode="0">
                  <c:v>863.30657361925671</c:v>
                </c:pt>
                <c:pt idx="177" formatCode="0">
                  <c:v>892.84884016203182</c:v>
                </c:pt>
                <c:pt idx="178" formatCode="0">
                  <c:v>924.25091040967902</c:v>
                </c:pt>
                <c:pt idx="179" formatCode="0">
                  <c:v>956.65441342148802</c:v>
                </c:pt>
                <c:pt idx="180" formatCode="0">
                  <c:v>989.55863281537802</c:v>
                </c:pt>
                <c:pt idx="181" formatCode="0">
                  <c:v>1023.1066304148006</c:v>
                </c:pt>
                <c:pt idx="182" formatCode="0">
                  <c:v>1057.9421844252886</c:v>
                </c:pt>
                <c:pt idx="183" formatCode="0">
                  <c:v>1094.279887582019</c:v>
                </c:pt>
                <c:pt idx="184" formatCode="0">
                  <c:v>1132.1197398849924</c:v>
                </c:pt>
                <c:pt idx="185" formatCode="0">
                  <c:v>1171.1756176873055</c:v>
                </c:pt>
                <c:pt idx="186" formatCode="0">
                  <c:v>1211.2329282537803</c:v>
                </c:pt>
                <c:pt idx="187" formatCode="0">
                  <c:v>1252.5062643195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AF-41D6-8405-081FF68E574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576.89680306896219</c:v>
                </c:pt>
                <c:pt idx="165" formatCode="0">
                  <c:v>605.58069867102722</c:v>
                </c:pt>
                <c:pt idx="166" formatCode="0">
                  <c:v>635.19449612552819</c:v>
                </c:pt>
                <c:pt idx="167" formatCode="0">
                  <c:v>666.09584999109438</c:v>
                </c:pt>
                <c:pt idx="168" formatCode="0">
                  <c:v>697.78404388564491</c:v>
                </c:pt>
                <c:pt idx="169" formatCode="0">
                  <c:v>729.90142325055058</c:v>
                </c:pt>
                <c:pt idx="170" formatCode="0">
                  <c:v>762.23339535063383</c:v>
                </c:pt>
                <c:pt idx="171" formatCode="0">
                  <c:v>797.3550730080251</c:v>
                </c:pt>
                <c:pt idx="172" formatCode="0">
                  <c:v>837.62697630967739</c:v>
                </c:pt>
                <c:pt idx="173" formatCode="0">
                  <c:v>879.90174513965337</c:v>
                </c:pt>
                <c:pt idx="174" formatCode="0">
                  <c:v>923.75019402759813</c:v>
                </c:pt>
                <c:pt idx="175" formatCode="0">
                  <c:v>969.31538479696314</c:v>
                </c:pt>
                <c:pt idx="176" formatCode="0">
                  <c:v>1017.0980338298293</c:v>
                </c:pt>
                <c:pt idx="177" formatCode="0">
                  <c:v>1067.527326596552</c:v>
                </c:pt>
                <c:pt idx="178" formatCode="0">
                  <c:v>1120.8893867440345</c:v>
                </c:pt>
                <c:pt idx="179" formatCode="0">
                  <c:v>1176.7550288019215</c:v>
                </c:pt>
                <c:pt idx="180" formatCode="0">
                  <c:v>1235.1242527702134</c:v>
                </c:pt>
                <c:pt idx="181" formatCode="0">
                  <c:v>1296.0685895606357</c:v>
                </c:pt>
                <c:pt idx="182" formatCode="0">
                  <c:v>1360.1602864669953</c:v>
                </c:pt>
                <c:pt idx="183" formatCode="0">
                  <c:v>1427.5424053127438</c:v>
                </c:pt>
                <c:pt idx="184" formatCode="0">
                  <c:v>1498.3580079213332</c:v>
                </c:pt>
                <c:pt idx="185" formatCode="0">
                  <c:v>1572.5355633810373</c:v>
                </c:pt>
                <c:pt idx="186" formatCode="0">
                  <c:v>1650.2896644270338</c:v>
                </c:pt>
                <c:pt idx="187" formatCode="0">
                  <c:v>1731.6918419710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AF-41D6-8405-081FF68E574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580.11569409662536</c:v>
                </c:pt>
                <c:pt idx="165" formatCode="0">
                  <c:v>613.94981534295141</c:v>
                </c:pt>
                <c:pt idx="166" formatCode="0">
                  <c:v>650.07292576450448</c:v>
                </c:pt>
                <c:pt idx="167" formatCode="0">
                  <c:v>688.48502536128478</c:v>
                </c:pt>
                <c:pt idx="168" formatCode="0">
                  <c:v>729.5437686919214</c:v>
                </c:pt>
                <c:pt idx="169" formatCode="0">
                  <c:v>773.4637484915919</c:v>
                </c:pt>
                <c:pt idx="170" formatCode="0">
                  <c:v>820.45955749547386</c:v>
                </c:pt>
                <c:pt idx="171" formatCode="0">
                  <c:v>870.17354114493799</c:v>
                </c:pt>
                <c:pt idx="172" formatCode="0">
                  <c:v>925.82459046764757</c:v>
                </c:pt>
                <c:pt idx="173" formatCode="0">
                  <c:v>984.98065446492376</c:v>
                </c:pt>
                <c:pt idx="174" formatCode="0">
                  <c:v>1048.0709186071215</c:v>
                </c:pt>
                <c:pt idx="175" formatCode="0">
                  <c:v>1115.2384447176926</c:v>
                </c:pt>
                <c:pt idx="176" formatCode="0">
                  <c:v>1186.6978255318143</c:v>
                </c:pt>
                <c:pt idx="177" formatCode="0">
                  <c:v>1262.5921228729389</c:v>
                </c:pt>
                <c:pt idx="178" formatCode="0">
                  <c:v>1343.2074603879694</c:v>
                </c:pt>
                <c:pt idx="179" formatCode="0">
                  <c:v>1428.9730235472609</c:v>
                </c:pt>
                <c:pt idx="180" formatCode="0">
                  <c:v>1520.3179978211683</c:v>
                </c:pt>
                <c:pt idx="181" formatCode="0">
                  <c:v>1617.5285068565956</c:v>
                </c:pt>
                <c:pt idx="182" formatCode="0">
                  <c:v>1720.8906743004457</c:v>
                </c:pt>
                <c:pt idx="183" formatCode="0">
                  <c:v>1830.7621547113476</c:v>
                </c:pt>
                <c:pt idx="184" formatCode="0">
                  <c:v>1947.5721335596572</c:v>
                </c:pt>
                <c:pt idx="185" formatCode="0">
                  <c:v>2071.8213272274547</c:v>
                </c:pt>
                <c:pt idx="186" formatCode="0">
                  <c:v>2204.0104520968216</c:v>
                </c:pt>
                <c:pt idx="187" formatCode="0">
                  <c:v>2344.568693638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98</c:v>
                </c:pt>
                <c:pt idx="1">
                  <c:v>49</c:v>
                </c:pt>
                <c:pt idx="2">
                  <c:v>152</c:v>
                </c:pt>
                <c:pt idx="3">
                  <c:v>255</c:v>
                </c:pt>
                <c:pt idx="4">
                  <c:v>177</c:v>
                </c:pt>
                <c:pt idx="5">
                  <c:v>158</c:v>
                </c:pt>
                <c:pt idx="6">
                  <c:v>157</c:v>
                </c:pt>
                <c:pt idx="7">
                  <c:v>32</c:v>
                </c:pt>
                <c:pt idx="8">
                  <c:v>6</c:v>
                </c:pt>
                <c:pt idx="9">
                  <c:v>142</c:v>
                </c:pt>
                <c:pt idx="10">
                  <c:v>171</c:v>
                </c:pt>
                <c:pt idx="11">
                  <c:v>97</c:v>
                </c:pt>
                <c:pt idx="12">
                  <c:v>102</c:v>
                </c:pt>
                <c:pt idx="13">
                  <c:v>77</c:v>
                </c:pt>
                <c:pt idx="14">
                  <c:v>39</c:v>
                </c:pt>
                <c:pt idx="15">
                  <c:v>4</c:v>
                </c:pt>
                <c:pt idx="16">
                  <c:v>95</c:v>
                </c:pt>
                <c:pt idx="17">
                  <c:v>78</c:v>
                </c:pt>
                <c:pt idx="18">
                  <c:v>66</c:v>
                </c:pt>
                <c:pt idx="19">
                  <c:v>45</c:v>
                </c:pt>
                <c:pt idx="20">
                  <c:v>67</c:v>
                </c:pt>
                <c:pt idx="21">
                  <c:v>25</c:v>
                </c:pt>
                <c:pt idx="22">
                  <c:v>6</c:v>
                </c:pt>
                <c:pt idx="23">
                  <c:v>35</c:v>
                </c:pt>
                <c:pt idx="24">
                  <c:v>68</c:v>
                </c:pt>
                <c:pt idx="25">
                  <c:v>36</c:v>
                </c:pt>
                <c:pt idx="26">
                  <c:v>45</c:v>
                </c:pt>
                <c:pt idx="27">
                  <c:v>61</c:v>
                </c:pt>
                <c:pt idx="28">
                  <c:v>9</c:v>
                </c:pt>
                <c:pt idx="29">
                  <c:v>6</c:v>
                </c:pt>
                <c:pt idx="30">
                  <c:v>36</c:v>
                </c:pt>
                <c:pt idx="31">
                  <c:v>33</c:v>
                </c:pt>
                <c:pt idx="32">
                  <c:v>34</c:v>
                </c:pt>
                <c:pt idx="33">
                  <c:v>81</c:v>
                </c:pt>
                <c:pt idx="34">
                  <c:v>32</c:v>
                </c:pt>
                <c:pt idx="35">
                  <c:v>17</c:v>
                </c:pt>
                <c:pt idx="36">
                  <c:v>2</c:v>
                </c:pt>
                <c:pt idx="37">
                  <c:v>21</c:v>
                </c:pt>
                <c:pt idx="38">
                  <c:v>59</c:v>
                </c:pt>
                <c:pt idx="39">
                  <c:v>30</c:v>
                </c:pt>
                <c:pt idx="40">
                  <c:v>21</c:v>
                </c:pt>
                <c:pt idx="41">
                  <c:v>31</c:v>
                </c:pt>
                <c:pt idx="42">
                  <c:v>6</c:v>
                </c:pt>
                <c:pt idx="43">
                  <c:v>0</c:v>
                </c:pt>
                <c:pt idx="44">
                  <c:v>17</c:v>
                </c:pt>
                <c:pt idx="45">
                  <c:v>25</c:v>
                </c:pt>
                <c:pt idx="46">
                  <c:v>14</c:v>
                </c:pt>
                <c:pt idx="47">
                  <c:v>18</c:v>
                </c:pt>
                <c:pt idx="48">
                  <c:v>6</c:v>
                </c:pt>
                <c:pt idx="49">
                  <c:v>4</c:v>
                </c:pt>
                <c:pt idx="50">
                  <c:v>1</c:v>
                </c:pt>
                <c:pt idx="51">
                  <c:v>5</c:v>
                </c:pt>
                <c:pt idx="52">
                  <c:v>8</c:v>
                </c:pt>
                <c:pt idx="53">
                  <c:v>4</c:v>
                </c:pt>
                <c:pt idx="54">
                  <c:v>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6</c:v>
                </c:pt>
                <c:pt idx="62">
                  <c:v>4</c:v>
                </c:pt>
                <c:pt idx="63">
                  <c:v>3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4</c:v>
                </c:pt>
                <c:pt idx="68">
                  <c:v>6</c:v>
                </c:pt>
                <c:pt idx="69">
                  <c:v>9</c:v>
                </c:pt>
                <c:pt idx="70">
                  <c:v>4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4</c:v>
                </c:pt>
                <c:pt idx="78">
                  <c:v>1</c:v>
                </c:pt>
                <c:pt idx="79">
                  <c:v>11</c:v>
                </c:pt>
                <c:pt idx="80">
                  <c:v>6</c:v>
                </c:pt>
                <c:pt idx="81">
                  <c:v>12</c:v>
                </c:pt>
                <c:pt idx="82">
                  <c:v>10</c:v>
                </c:pt>
                <c:pt idx="83">
                  <c:v>8</c:v>
                </c:pt>
                <c:pt idx="84">
                  <c:v>2</c:v>
                </c:pt>
                <c:pt idx="85">
                  <c:v>2</c:v>
                </c:pt>
                <c:pt idx="86">
                  <c:v>6</c:v>
                </c:pt>
                <c:pt idx="87">
                  <c:v>19</c:v>
                </c:pt>
                <c:pt idx="88">
                  <c:v>11</c:v>
                </c:pt>
                <c:pt idx="89">
                  <c:v>10</c:v>
                </c:pt>
                <c:pt idx="90">
                  <c:v>7</c:v>
                </c:pt>
                <c:pt idx="91">
                  <c:v>1</c:v>
                </c:pt>
                <c:pt idx="92">
                  <c:v>1</c:v>
                </c:pt>
                <c:pt idx="93">
                  <c:v>9</c:v>
                </c:pt>
                <c:pt idx="94">
                  <c:v>11</c:v>
                </c:pt>
                <c:pt idx="95">
                  <c:v>15</c:v>
                </c:pt>
                <c:pt idx="96">
                  <c:v>20</c:v>
                </c:pt>
                <c:pt idx="97">
                  <c:v>13</c:v>
                </c:pt>
                <c:pt idx="98">
                  <c:v>5</c:v>
                </c:pt>
                <c:pt idx="99">
                  <c:v>3</c:v>
                </c:pt>
                <c:pt idx="100">
                  <c:v>13</c:v>
                </c:pt>
                <c:pt idx="101">
                  <c:v>24</c:v>
                </c:pt>
                <c:pt idx="102">
                  <c:v>21</c:v>
                </c:pt>
                <c:pt idx="103">
                  <c:v>15</c:v>
                </c:pt>
                <c:pt idx="104">
                  <c:v>14</c:v>
                </c:pt>
                <c:pt idx="105">
                  <c:v>11</c:v>
                </c:pt>
                <c:pt idx="106">
                  <c:v>2</c:v>
                </c:pt>
                <c:pt idx="107">
                  <c:v>15</c:v>
                </c:pt>
                <c:pt idx="108">
                  <c:v>35</c:v>
                </c:pt>
                <c:pt idx="109">
                  <c:v>21</c:v>
                </c:pt>
                <c:pt idx="110">
                  <c:v>15</c:v>
                </c:pt>
                <c:pt idx="111">
                  <c:v>16</c:v>
                </c:pt>
                <c:pt idx="112">
                  <c:v>6</c:v>
                </c:pt>
                <c:pt idx="113">
                  <c:v>6</c:v>
                </c:pt>
                <c:pt idx="114">
                  <c:v>15</c:v>
                </c:pt>
                <c:pt idx="115">
                  <c:v>24</c:v>
                </c:pt>
                <c:pt idx="116">
                  <c:v>13</c:v>
                </c:pt>
                <c:pt idx="117">
                  <c:v>16</c:v>
                </c:pt>
                <c:pt idx="118">
                  <c:v>13</c:v>
                </c:pt>
                <c:pt idx="119">
                  <c:v>5</c:v>
                </c:pt>
                <c:pt idx="120">
                  <c:v>5</c:v>
                </c:pt>
                <c:pt idx="121">
                  <c:v>22</c:v>
                </c:pt>
                <c:pt idx="122">
                  <c:v>33</c:v>
                </c:pt>
                <c:pt idx="123">
                  <c:v>21</c:v>
                </c:pt>
                <c:pt idx="124">
                  <c:v>26</c:v>
                </c:pt>
                <c:pt idx="125">
                  <c:v>20</c:v>
                </c:pt>
                <c:pt idx="126">
                  <c:v>14</c:v>
                </c:pt>
                <c:pt idx="127">
                  <c:v>12</c:v>
                </c:pt>
                <c:pt idx="128">
                  <c:v>14</c:v>
                </c:pt>
                <c:pt idx="129">
                  <c:v>49</c:v>
                </c:pt>
                <c:pt idx="130">
                  <c:v>24</c:v>
                </c:pt>
                <c:pt idx="131">
                  <c:v>23</c:v>
                </c:pt>
                <c:pt idx="132">
                  <c:v>30</c:v>
                </c:pt>
                <c:pt idx="133">
                  <c:v>11</c:v>
                </c:pt>
                <c:pt idx="134">
                  <c:v>6</c:v>
                </c:pt>
                <c:pt idx="135">
                  <c:v>23</c:v>
                </c:pt>
                <c:pt idx="136">
                  <c:v>36</c:v>
                </c:pt>
                <c:pt idx="137">
                  <c:v>20</c:v>
                </c:pt>
                <c:pt idx="138">
                  <c:v>33</c:v>
                </c:pt>
                <c:pt idx="139">
                  <c:v>28</c:v>
                </c:pt>
                <c:pt idx="140">
                  <c:v>8</c:v>
                </c:pt>
                <c:pt idx="141">
                  <c:v>8</c:v>
                </c:pt>
                <c:pt idx="142">
                  <c:v>30</c:v>
                </c:pt>
                <c:pt idx="143">
                  <c:v>37</c:v>
                </c:pt>
                <c:pt idx="144">
                  <c:v>34</c:v>
                </c:pt>
                <c:pt idx="145">
                  <c:v>27</c:v>
                </c:pt>
                <c:pt idx="146">
                  <c:v>34</c:v>
                </c:pt>
                <c:pt idx="147">
                  <c:v>33</c:v>
                </c:pt>
                <c:pt idx="148">
                  <c:v>13</c:v>
                </c:pt>
                <c:pt idx="149">
                  <c:v>58</c:v>
                </c:pt>
                <c:pt idx="150">
                  <c:v>18</c:v>
                </c:pt>
                <c:pt idx="151">
                  <c:v>51</c:v>
                </c:pt>
                <c:pt idx="152">
                  <c:v>69</c:v>
                </c:pt>
                <c:pt idx="153">
                  <c:v>80</c:v>
                </c:pt>
                <c:pt idx="154">
                  <c:v>39</c:v>
                </c:pt>
                <c:pt idx="155">
                  <c:v>17</c:v>
                </c:pt>
                <c:pt idx="156">
                  <c:v>60</c:v>
                </c:pt>
                <c:pt idx="157">
                  <c:v>120</c:v>
                </c:pt>
                <c:pt idx="158">
                  <c:v>76</c:v>
                </c:pt>
                <c:pt idx="159">
                  <c:v>99</c:v>
                </c:pt>
                <c:pt idx="160">
                  <c:v>102</c:v>
                </c:pt>
                <c:pt idx="161">
                  <c:v>18</c:v>
                </c:pt>
                <c:pt idx="162">
                  <c:v>18</c:v>
                </c:pt>
                <c:pt idx="163">
                  <c:v>123</c:v>
                </c:pt>
                <c:pt idx="164">
                  <c:v>177</c:v>
                </c:pt>
                <c:pt idx="165">
                  <c:v>178</c:v>
                </c:pt>
                <c:pt idx="166">
                  <c:v>122</c:v>
                </c:pt>
                <c:pt idx="167">
                  <c:v>183</c:v>
                </c:pt>
                <c:pt idx="168">
                  <c:v>80</c:v>
                </c:pt>
                <c:pt idx="169">
                  <c:v>44</c:v>
                </c:pt>
                <c:pt idx="170">
                  <c:v>185</c:v>
                </c:pt>
                <c:pt idx="171">
                  <c:v>281</c:v>
                </c:pt>
                <c:pt idx="172">
                  <c:v>342</c:v>
                </c:pt>
                <c:pt idx="173">
                  <c:v>292</c:v>
                </c:pt>
                <c:pt idx="174">
                  <c:v>413</c:v>
                </c:pt>
                <c:pt idx="175">
                  <c:v>153</c:v>
                </c:pt>
                <c:pt idx="176">
                  <c:v>48</c:v>
                </c:pt>
                <c:pt idx="177">
                  <c:v>304</c:v>
                </c:pt>
                <c:pt idx="178">
                  <c:v>548</c:v>
                </c:pt>
                <c:pt idx="179">
                  <c:v>556</c:v>
                </c:pt>
                <c:pt idx="180">
                  <c:v>162</c:v>
                </c:pt>
                <c:pt idx="181">
                  <c:v>446</c:v>
                </c:pt>
                <c:pt idx="182">
                  <c:v>284</c:v>
                </c:pt>
                <c:pt idx="183">
                  <c:v>113</c:v>
                </c:pt>
                <c:pt idx="184">
                  <c:v>535</c:v>
                </c:pt>
                <c:pt idx="185">
                  <c:v>830</c:v>
                </c:pt>
                <c:pt idx="186">
                  <c:v>801</c:v>
                </c:pt>
                <c:pt idx="187">
                  <c:v>678</c:v>
                </c:pt>
                <c:pt idx="188">
                  <c:v>702</c:v>
                </c:pt>
                <c:pt idx="189">
                  <c:v>292</c:v>
                </c:pt>
                <c:pt idx="190">
                  <c:v>97</c:v>
                </c:pt>
                <c:pt idx="191">
                  <c:v>588</c:v>
                </c:pt>
                <c:pt idx="192">
                  <c:v>1023</c:v>
                </c:pt>
                <c:pt idx="193">
                  <c:v>978</c:v>
                </c:pt>
                <c:pt idx="194">
                  <c:v>861</c:v>
                </c:pt>
                <c:pt idx="195">
                  <c:v>902</c:v>
                </c:pt>
                <c:pt idx="196">
                  <c:v>366</c:v>
                </c:pt>
                <c:pt idx="197">
                  <c:v>227</c:v>
                </c:pt>
                <c:pt idx="198">
                  <c:v>771</c:v>
                </c:pt>
                <c:pt idx="199">
                  <c:v>1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493-4C53-BEF6-F74E1133C6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878</c:v>
                </c:pt>
                <c:pt idx="196">
                  <c:v>880</c:v>
                </c:pt>
                <c:pt idx="197">
                  <c:v>905</c:v>
                </c:pt>
                <c:pt idx="198">
                  <c:v>943</c:v>
                </c:pt>
                <c:pt idx="199">
                  <c:v>967</c:v>
                </c:pt>
                <c:pt idx="200">
                  <c:v>981</c:v>
                </c:pt>
                <c:pt idx="201">
                  <c:v>991</c:v>
                </c:pt>
                <c:pt idx="202">
                  <c:v>999</c:v>
                </c:pt>
                <c:pt idx="203">
                  <c:v>1022</c:v>
                </c:pt>
                <c:pt idx="204">
                  <c:v>1049</c:v>
                </c:pt>
                <c:pt idx="205">
                  <c:v>1073</c:v>
                </c:pt>
                <c:pt idx="206">
                  <c:v>1088</c:v>
                </c:pt>
                <c:pt idx="207">
                  <c:v>1103</c:v>
                </c:pt>
                <c:pt idx="208">
                  <c:v>1121</c:v>
                </c:pt>
                <c:pt idx="209">
                  <c:v>1144</c:v>
                </c:pt>
                <c:pt idx="210">
                  <c:v>1168</c:v>
                </c:pt>
                <c:pt idx="211">
                  <c:v>1190</c:v>
                </c:pt>
                <c:pt idx="212">
                  <c:v>1210</c:v>
                </c:pt>
                <c:pt idx="213">
                  <c:v>1230</c:v>
                </c:pt>
                <c:pt idx="214">
                  <c:v>1252</c:v>
                </c:pt>
                <c:pt idx="215">
                  <c:v>1276</c:v>
                </c:pt>
                <c:pt idx="216">
                  <c:v>1301</c:v>
                </c:pt>
                <c:pt idx="217">
                  <c:v>1324</c:v>
                </c:pt>
                <c:pt idx="218">
                  <c:v>1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93-4C53-BEF6-F74E1133C6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910</c:v>
                </c:pt>
                <c:pt idx="196">
                  <c:v>932</c:v>
                </c:pt>
                <c:pt idx="197">
                  <c:v>971</c:v>
                </c:pt>
                <c:pt idx="198">
                  <c:v>1019</c:v>
                </c:pt>
                <c:pt idx="199">
                  <c:v>1058</c:v>
                </c:pt>
                <c:pt idx="200">
                  <c:v>1092</c:v>
                </c:pt>
                <c:pt idx="201">
                  <c:v>1124</c:v>
                </c:pt>
                <c:pt idx="202">
                  <c:v>1156</c:v>
                </c:pt>
                <c:pt idx="203">
                  <c:v>1200</c:v>
                </c:pt>
                <c:pt idx="204">
                  <c:v>1247</c:v>
                </c:pt>
                <c:pt idx="205">
                  <c:v>1293</c:v>
                </c:pt>
                <c:pt idx="206">
                  <c:v>1334</c:v>
                </c:pt>
                <c:pt idx="207">
                  <c:v>1376</c:v>
                </c:pt>
                <c:pt idx="208">
                  <c:v>1422</c:v>
                </c:pt>
                <c:pt idx="209">
                  <c:v>1473</c:v>
                </c:pt>
                <c:pt idx="210">
                  <c:v>1527</c:v>
                </c:pt>
                <c:pt idx="211">
                  <c:v>1580</c:v>
                </c:pt>
                <c:pt idx="212">
                  <c:v>1632</c:v>
                </c:pt>
                <c:pt idx="213">
                  <c:v>1686</c:v>
                </c:pt>
                <c:pt idx="214">
                  <c:v>1744</c:v>
                </c:pt>
                <c:pt idx="215">
                  <c:v>1805</c:v>
                </c:pt>
                <c:pt idx="216">
                  <c:v>1868</c:v>
                </c:pt>
                <c:pt idx="217">
                  <c:v>1932</c:v>
                </c:pt>
                <c:pt idx="218">
                  <c:v>1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493-4C53-BEF6-F74E1133C6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941</c:v>
                </c:pt>
                <c:pt idx="196">
                  <c:v>984</c:v>
                </c:pt>
                <c:pt idx="197">
                  <c:v>1036</c:v>
                </c:pt>
                <c:pt idx="198">
                  <c:v>1095</c:v>
                </c:pt>
                <c:pt idx="199">
                  <c:v>1151</c:v>
                </c:pt>
                <c:pt idx="200">
                  <c:v>1207</c:v>
                </c:pt>
                <c:pt idx="201">
                  <c:v>1264</c:v>
                </c:pt>
                <c:pt idx="202">
                  <c:v>1324</c:v>
                </c:pt>
                <c:pt idx="203">
                  <c:v>1392</c:v>
                </c:pt>
                <c:pt idx="204">
                  <c:v>1464</c:v>
                </c:pt>
                <c:pt idx="205">
                  <c:v>1538</c:v>
                </c:pt>
                <c:pt idx="206">
                  <c:v>1613</c:v>
                </c:pt>
                <c:pt idx="207">
                  <c:v>1691</c:v>
                </c:pt>
                <c:pt idx="208">
                  <c:v>1774</c:v>
                </c:pt>
                <c:pt idx="209">
                  <c:v>1863</c:v>
                </c:pt>
                <c:pt idx="210">
                  <c:v>1957</c:v>
                </c:pt>
                <c:pt idx="211">
                  <c:v>2054</c:v>
                </c:pt>
                <c:pt idx="212">
                  <c:v>2154</c:v>
                </c:pt>
                <c:pt idx="213">
                  <c:v>2260</c:v>
                </c:pt>
                <c:pt idx="214">
                  <c:v>2372</c:v>
                </c:pt>
                <c:pt idx="215">
                  <c:v>2490</c:v>
                </c:pt>
                <c:pt idx="216">
                  <c:v>2614</c:v>
                </c:pt>
                <c:pt idx="217">
                  <c:v>2743</c:v>
                </c:pt>
                <c:pt idx="218">
                  <c:v>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493-4C53-BEF6-F74E1133C6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973</c:v>
                </c:pt>
                <c:pt idx="196">
                  <c:v>1036</c:v>
                </c:pt>
                <c:pt idx="197">
                  <c:v>1102</c:v>
                </c:pt>
                <c:pt idx="198">
                  <c:v>1171</c:v>
                </c:pt>
                <c:pt idx="199">
                  <c:v>1246</c:v>
                </c:pt>
                <c:pt idx="200">
                  <c:v>1327</c:v>
                </c:pt>
                <c:pt idx="201">
                  <c:v>1412</c:v>
                </c:pt>
                <c:pt idx="202">
                  <c:v>1504</c:v>
                </c:pt>
                <c:pt idx="203">
                  <c:v>1599</c:v>
                </c:pt>
                <c:pt idx="204">
                  <c:v>1701</c:v>
                </c:pt>
                <c:pt idx="205">
                  <c:v>1809</c:v>
                </c:pt>
                <c:pt idx="206">
                  <c:v>1926</c:v>
                </c:pt>
                <c:pt idx="207">
                  <c:v>2049</c:v>
                </c:pt>
                <c:pt idx="208">
                  <c:v>2180</c:v>
                </c:pt>
                <c:pt idx="209">
                  <c:v>2319</c:v>
                </c:pt>
                <c:pt idx="210">
                  <c:v>2467</c:v>
                </c:pt>
                <c:pt idx="211">
                  <c:v>2624</c:v>
                </c:pt>
                <c:pt idx="212">
                  <c:v>2792</c:v>
                </c:pt>
                <c:pt idx="213">
                  <c:v>2970</c:v>
                </c:pt>
                <c:pt idx="214">
                  <c:v>3160</c:v>
                </c:pt>
                <c:pt idx="215">
                  <c:v>3361</c:v>
                </c:pt>
                <c:pt idx="216">
                  <c:v>3575</c:v>
                </c:pt>
                <c:pt idx="217">
                  <c:v>3803</c:v>
                </c:pt>
                <c:pt idx="218">
                  <c:v>4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0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2F-4BD0-9093-BC5C0FF99C02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0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35.117651903267962</c:v>
                </c:pt>
                <c:pt idx="1">
                  <c:v>34.80687622270807</c:v>
                </c:pt>
                <c:pt idx="2">
                  <c:v>40.400838472786155</c:v>
                </c:pt>
                <c:pt idx="3">
                  <c:v>35.894591104667697</c:v>
                </c:pt>
                <c:pt idx="4">
                  <c:v>37.137693826907274</c:v>
                </c:pt>
                <c:pt idx="5">
                  <c:v>36.516142465787482</c:v>
                </c:pt>
                <c:pt idx="6">
                  <c:v>34.185324861588278</c:v>
                </c:pt>
                <c:pt idx="7">
                  <c:v>38.225408708866894</c:v>
                </c:pt>
                <c:pt idx="8">
                  <c:v>37.603857347747109</c:v>
                </c:pt>
                <c:pt idx="9">
                  <c:v>28.280586930950303</c:v>
                </c:pt>
                <c:pt idx="10">
                  <c:v>28.125199090670357</c:v>
                </c:pt>
                <c:pt idx="11">
                  <c:v>26.415932847590941</c:v>
                </c:pt>
                <c:pt idx="12">
                  <c:v>26.105157167031052</c:v>
                </c:pt>
                <c:pt idx="13">
                  <c:v>25.483605805911264</c:v>
                </c:pt>
                <c:pt idx="14">
                  <c:v>20.200419236393078</c:v>
                </c:pt>
                <c:pt idx="15">
                  <c:v>17.714213791913927</c:v>
                </c:pt>
                <c:pt idx="16">
                  <c:v>17.248050271074089</c:v>
                </c:pt>
                <c:pt idx="17">
                  <c:v>13.363354264075419</c:v>
                </c:pt>
                <c:pt idx="18">
                  <c:v>13.052578583515526</c:v>
                </c:pt>
                <c:pt idx="19">
                  <c:v>13.207966423795471</c:v>
                </c:pt>
                <c:pt idx="20">
                  <c:v>11.343312340436112</c:v>
                </c:pt>
                <c:pt idx="21">
                  <c:v>8.7017190556770174</c:v>
                </c:pt>
                <c:pt idx="22">
                  <c:v>7.1478406528775498</c:v>
                </c:pt>
                <c:pt idx="23">
                  <c:v>4.9724108889582954</c:v>
                </c:pt>
                <c:pt idx="24">
                  <c:v>4.0400838472786154</c:v>
                </c:pt>
                <c:pt idx="25">
                  <c:v>3.4185324861588278</c:v>
                </c:pt>
                <c:pt idx="26">
                  <c:v>3.2631446458788815</c:v>
                </c:pt>
                <c:pt idx="27">
                  <c:v>2.9523689653189882</c:v>
                </c:pt>
                <c:pt idx="28">
                  <c:v>2.330817604199201</c:v>
                </c:pt>
                <c:pt idx="29">
                  <c:v>2.0200419236393077</c:v>
                </c:pt>
                <c:pt idx="30">
                  <c:v>2.330817604199201</c:v>
                </c:pt>
                <c:pt idx="31">
                  <c:v>2.9523689653189882</c:v>
                </c:pt>
                <c:pt idx="32">
                  <c:v>3.4185324861588278</c:v>
                </c:pt>
                <c:pt idx="33">
                  <c:v>3.7293081667187216</c:v>
                </c:pt>
                <c:pt idx="34">
                  <c:v>3.5739203264387749</c:v>
                </c:pt>
                <c:pt idx="35">
                  <c:v>3.4185324861588278</c:v>
                </c:pt>
                <c:pt idx="36">
                  <c:v>3.7293081667187216</c:v>
                </c:pt>
                <c:pt idx="37">
                  <c:v>3.7293081667187216</c:v>
                </c:pt>
                <c:pt idx="38">
                  <c:v>4.5062473681184549</c:v>
                </c:pt>
                <c:pt idx="39">
                  <c:v>4.6616352083984021</c:v>
                </c:pt>
                <c:pt idx="40">
                  <c:v>4.3508595278385087</c:v>
                </c:pt>
                <c:pt idx="41">
                  <c:v>5.4385744097981359</c:v>
                </c:pt>
                <c:pt idx="42">
                  <c:v>6.8370649723176555</c:v>
                </c:pt>
                <c:pt idx="43">
                  <c:v>7.1478406528775498</c:v>
                </c:pt>
                <c:pt idx="44">
                  <c:v>7.303228493157496</c:v>
                </c:pt>
                <c:pt idx="45">
                  <c:v>6.8370649723176555</c:v>
                </c:pt>
                <c:pt idx="46">
                  <c:v>6.8370649723176555</c:v>
                </c:pt>
                <c:pt idx="47">
                  <c:v>6.9924528125976035</c:v>
                </c:pt>
                <c:pt idx="48">
                  <c:v>7.303228493157496</c:v>
                </c:pt>
                <c:pt idx="49">
                  <c:v>6.3709014514778159</c:v>
                </c:pt>
                <c:pt idx="50">
                  <c:v>7.303228493157496</c:v>
                </c:pt>
                <c:pt idx="51">
                  <c:v>7.7693920139973374</c:v>
                </c:pt>
                <c:pt idx="52">
                  <c:v>8.0801676945572307</c:v>
                </c:pt>
                <c:pt idx="53">
                  <c:v>7.7693920139973374</c:v>
                </c:pt>
                <c:pt idx="54">
                  <c:v>7.9247798542772836</c:v>
                </c:pt>
                <c:pt idx="55">
                  <c:v>7.1478406528775498</c:v>
                </c:pt>
                <c:pt idx="56">
                  <c:v>9.1678825765168579</c:v>
                </c:pt>
                <c:pt idx="57">
                  <c:v>9.0124947362369099</c:v>
                </c:pt>
                <c:pt idx="58">
                  <c:v>9.0124947362369099</c:v>
                </c:pt>
                <c:pt idx="59">
                  <c:v>8.8571068959569637</c:v>
                </c:pt>
                <c:pt idx="60">
                  <c:v>8.7017190556770174</c:v>
                </c:pt>
                <c:pt idx="61">
                  <c:v>8.5463312153970694</c:v>
                </c:pt>
                <c:pt idx="62">
                  <c:v>9.0124947362369099</c:v>
                </c:pt>
                <c:pt idx="63">
                  <c:v>7.7693920139973374</c:v>
                </c:pt>
                <c:pt idx="64">
                  <c:v>8.3909433751171232</c:v>
                </c:pt>
                <c:pt idx="65">
                  <c:v>9.9448217779165908</c:v>
                </c:pt>
                <c:pt idx="66">
                  <c:v>10.877148819596272</c:v>
                </c:pt>
                <c:pt idx="67">
                  <c:v>11.498700180716058</c:v>
                </c:pt>
                <c:pt idx="68">
                  <c:v>11.809475861275953</c:v>
                </c:pt>
                <c:pt idx="69">
                  <c:v>12.431027222395739</c:v>
                </c:pt>
                <c:pt idx="70">
                  <c:v>14.451069146035048</c:v>
                </c:pt>
                <c:pt idx="71">
                  <c:v>15.383396187714727</c:v>
                </c:pt>
                <c:pt idx="72">
                  <c:v>14.606456986314992</c:v>
                </c:pt>
                <c:pt idx="73">
                  <c:v>14.76184482659494</c:v>
                </c:pt>
                <c:pt idx="74">
                  <c:v>15.694171868274619</c:v>
                </c:pt>
                <c:pt idx="75">
                  <c:v>15.538784027994675</c:v>
                </c:pt>
                <c:pt idx="76">
                  <c:v>15.849559708554567</c:v>
                </c:pt>
                <c:pt idx="77">
                  <c:v>17.558825951633981</c:v>
                </c:pt>
                <c:pt idx="78">
                  <c:v>17.558825951633981</c:v>
                </c:pt>
                <c:pt idx="79">
                  <c:v>17.558825951633981</c:v>
                </c:pt>
                <c:pt idx="80">
                  <c:v>17.869601632193874</c:v>
                </c:pt>
                <c:pt idx="81">
                  <c:v>17.092662430794139</c:v>
                </c:pt>
                <c:pt idx="82">
                  <c:v>17.714213791913927</c:v>
                </c:pt>
                <c:pt idx="83">
                  <c:v>17.714213791913927</c:v>
                </c:pt>
                <c:pt idx="84">
                  <c:v>16.004947548834515</c:v>
                </c:pt>
                <c:pt idx="85">
                  <c:v>14.76184482659494</c:v>
                </c:pt>
                <c:pt idx="86">
                  <c:v>14.917232666874886</c:v>
                </c:pt>
                <c:pt idx="87">
                  <c:v>14.451069146035048</c:v>
                </c:pt>
                <c:pt idx="88">
                  <c:v>14.2956813057551</c:v>
                </c:pt>
                <c:pt idx="89">
                  <c:v>14.140293465475152</c:v>
                </c:pt>
                <c:pt idx="90">
                  <c:v>15.228008347434779</c:v>
                </c:pt>
                <c:pt idx="91">
                  <c:v>16.6264989099543</c:v>
                </c:pt>
                <c:pt idx="92">
                  <c:v>17.869601632193874</c:v>
                </c:pt>
                <c:pt idx="93">
                  <c:v>19.423480034993339</c:v>
                </c:pt>
                <c:pt idx="94">
                  <c:v>20.51119491695297</c:v>
                </c:pt>
                <c:pt idx="95">
                  <c:v>21.90968547947249</c:v>
                </c:pt>
                <c:pt idx="96">
                  <c:v>22.997400361432117</c:v>
                </c:pt>
                <c:pt idx="97">
                  <c:v>21.754297639192544</c:v>
                </c:pt>
                <c:pt idx="98">
                  <c:v>24.24050308367169</c:v>
                </c:pt>
                <c:pt idx="99">
                  <c:v>24.706666604511533</c:v>
                </c:pt>
                <c:pt idx="100">
                  <c:v>24.24050308367169</c:v>
                </c:pt>
                <c:pt idx="101">
                  <c:v>25.794381486471156</c:v>
                </c:pt>
                <c:pt idx="102">
                  <c:v>25.328217965631318</c:v>
                </c:pt>
                <c:pt idx="103">
                  <c:v>24.395890923951637</c:v>
                </c:pt>
                <c:pt idx="104">
                  <c:v>25.794381486471156</c:v>
                </c:pt>
                <c:pt idx="105">
                  <c:v>23.774339562831848</c:v>
                </c:pt>
                <c:pt idx="106">
                  <c:v>23.152788201712063</c:v>
                </c:pt>
                <c:pt idx="107">
                  <c:v>24.706666604511533</c:v>
                </c:pt>
                <c:pt idx="108">
                  <c:v>24.395890923951637</c:v>
                </c:pt>
                <c:pt idx="109">
                  <c:v>23.929727403111798</c:v>
                </c:pt>
                <c:pt idx="110">
                  <c:v>24.24050308367169</c:v>
                </c:pt>
                <c:pt idx="111">
                  <c:v>25.328217965631318</c:v>
                </c:pt>
                <c:pt idx="112">
                  <c:v>25.483605805911264</c:v>
                </c:pt>
                <c:pt idx="113">
                  <c:v>27.659035569830518</c:v>
                </c:pt>
                <c:pt idx="114">
                  <c:v>26.726708528150837</c:v>
                </c:pt>
                <c:pt idx="115">
                  <c:v>27.659035569830518</c:v>
                </c:pt>
                <c:pt idx="116">
                  <c:v>31.543731576829188</c:v>
                </c:pt>
                <c:pt idx="117">
                  <c:v>32.320670778228923</c:v>
                </c:pt>
                <c:pt idx="118">
                  <c:v>36.671530306067432</c:v>
                </c:pt>
                <c:pt idx="119">
                  <c:v>33.719161340748443</c:v>
                </c:pt>
                <c:pt idx="120">
                  <c:v>36.360754625507539</c:v>
                </c:pt>
                <c:pt idx="121">
                  <c:v>42.887043917265295</c:v>
                </c:pt>
                <c:pt idx="122">
                  <c:v>50.034884570142843</c:v>
                </c:pt>
                <c:pt idx="123">
                  <c:v>50.967211611822528</c:v>
                </c:pt>
                <c:pt idx="124">
                  <c:v>51.588762972942313</c:v>
                </c:pt>
                <c:pt idx="125">
                  <c:v>51.899538653502205</c:v>
                </c:pt>
                <c:pt idx="126">
                  <c:v>67.749098362056785</c:v>
                </c:pt>
                <c:pt idx="127">
                  <c:v>71.633794369055451</c:v>
                </c:pt>
                <c:pt idx="128">
                  <c:v>76.295429577453845</c:v>
                </c:pt>
                <c:pt idx="129">
                  <c:v>79.713962063612684</c:v>
                </c:pt>
                <c:pt idx="130">
                  <c:v>76.450817417733788</c:v>
                </c:pt>
                <c:pt idx="131">
                  <c:v>76.60620525801373</c:v>
                </c:pt>
                <c:pt idx="132">
                  <c:v>86.395639195650389</c:v>
                </c:pt>
                <c:pt idx="133">
                  <c:v>95.252746091607349</c:v>
                </c:pt>
                <c:pt idx="134">
                  <c:v>111.10230580016191</c:v>
                </c:pt>
                <c:pt idx="135">
                  <c:v>114.67622612660068</c:v>
                </c:pt>
                <c:pt idx="136">
                  <c:v>127.26264118927638</c:v>
                </c:pt>
                <c:pt idx="137">
                  <c:v>136.89668728663307</c:v>
                </c:pt>
                <c:pt idx="138">
                  <c:v>140.93677113391169</c:v>
                </c:pt>
                <c:pt idx="139">
                  <c:v>150.57081723126839</c:v>
                </c:pt>
                <c:pt idx="140">
                  <c:v>166.73115262038286</c:v>
                </c:pt>
                <c:pt idx="141">
                  <c:v>192.21475842629411</c:v>
                </c:pt>
                <c:pt idx="142">
                  <c:v>218.63069127388505</c:v>
                </c:pt>
                <c:pt idx="143">
                  <c:v>254.36989453827277</c:v>
                </c:pt>
                <c:pt idx="144">
                  <c:v>265.71320687870895</c:v>
                </c:pt>
                <c:pt idx="145">
                  <c:v>266.33475823982872</c:v>
                </c:pt>
                <c:pt idx="146">
                  <c:v>284.82591123314239</c:v>
                </c:pt>
                <c:pt idx="147">
                  <c:v>326.31446458788815</c:v>
                </c:pt>
                <c:pt idx="148">
                  <c:v>359.56746240779671</c:v>
                </c:pt>
                <c:pt idx="149">
                  <c:v>339.36704317140368</c:v>
                </c:pt>
                <c:pt idx="150">
                  <c:v>344.49484190064192</c:v>
                </c:pt>
                <c:pt idx="151">
                  <c:v>364.8506489773149</c:v>
                </c:pt>
                <c:pt idx="152">
                  <c:v>374.95085859551148</c:v>
                </c:pt>
                <c:pt idx="153">
                  <c:v>410.84544970017913</c:v>
                </c:pt>
                <c:pt idx="154">
                  <c:v>454.66482065912408</c:v>
                </c:pt>
                <c:pt idx="155">
                  <c:v>492.73484152771113</c:v>
                </c:pt>
                <c:pt idx="156">
                  <c:v>572.91496711216359</c:v>
                </c:pt>
                <c:pt idx="157">
                  <c:v>612.69425422383006</c:v>
                </c:pt>
                <c:pt idx="158">
                  <c:v>613.9373569460696</c:v>
                </c:pt>
                <c:pt idx="159">
                  <c:v>611.4511515015904</c:v>
                </c:pt>
                <c:pt idx="160">
                  <c:v>619.68670703642761</c:v>
                </c:pt>
                <c:pt idx="161">
                  <c:v>649.6765602104573</c:v>
                </c:pt>
                <c:pt idx="162">
                  <c:v>677.1802079400079</c:v>
                </c:pt>
                <c:pt idx="163">
                  <c:v>705.61618271123814</c:v>
                </c:pt>
                <c:pt idx="164">
                  <c:v>736.69375076722747</c:v>
                </c:pt>
                <c:pt idx="165">
                  <c:v>748.19245094794348</c:v>
                </c:pt>
                <c:pt idx="166">
                  <c:v>768.39287018433663</c:v>
                </c:pt>
                <c:pt idx="167">
                  <c:v>796.82884495556686</c:v>
                </c:pt>
                <c:pt idx="168">
                  <c:v>856.18699994250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2F-4BD0-9093-BC5C0FF99C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717.89182209335388</c:v>
                </c:pt>
                <c:pt idx="165" formatCode="0">
                  <c:v>741.04461029506592</c:v>
                </c:pt>
                <c:pt idx="166" formatCode="0">
                  <c:v>762.0219687328588</c:v>
                </c:pt>
                <c:pt idx="167" formatCode="0">
                  <c:v>781.91161228869203</c:v>
                </c:pt>
                <c:pt idx="168" formatCode="0">
                  <c:v>798.69349903892612</c:v>
                </c:pt>
                <c:pt idx="169" formatCode="0">
                  <c:v>810.96913842104186</c:v>
                </c:pt>
                <c:pt idx="170" formatCode="0">
                  <c:v>817.65081555307972</c:v>
                </c:pt>
                <c:pt idx="171" formatCode="0">
                  <c:v>829.61567925463555</c:v>
                </c:pt>
                <c:pt idx="172" formatCode="0">
                  <c:v>847.1745052062696</c:v>
                </c:pt>
                <c:pt idx="173" formatCode="0">
                  <c:v>865.04410683846345</c:v>
                </c:pt>
                <c:pt idx="174" formatCode="0">
                  <c:v>881.20444222757806</c:v>
                </c:pt>
                <c:pt idx="175" formatCode="0">
                  <c:v>896.27706273473268</c:v>
                </c:pt>
                <c:pt idx="176" formatCode="0">
                  <c:v>911.34968324188753</c:v>
                </c:pt>
                <c:pt idx="177" formatCode="0">
                  <c:v>927.51001863100214</c:v>
                </c:pt>
                <c:pt idx="178" formatCode="0">
                  <c:v>945.53500810347577</c:v>
                </c:pt>
                <c:pt idx="179" formatCode="0">
                  <c:v>963.87077325650955</c:v>
                </c:pt>
                <c:pt idx="180" formatCode="0">
                  <c:v>981.42959920814349</c:v>
                </c:pt>
                <c:pt idx="181" formatCode="0">
                  <c:v>998.52226163893772</c:v>
                </c:pt>
                <c:pt idx="182" formatCode="0">
                  <c:v>1016.2364754308517</c:v>
                </c:pt>
                <c:pt idx="183" formatCode="0">
                  <c:v>1034.8830162644451</c:v>
                </c:pt>
                <c:pt idx="184" formatCode="0">
                  <c:v>1054.1511084591586</c:v>
                </c:pt>
                <c:pt idx="185" formatCode="0">
                  <c:v>1073.729976334432</c:v>
                </c:pt>
                <c:pt idx="186" formatCode="0">
                  <c:v>1092.9980685291453</c:v>
                </c:pt>
                <c:pt idx="187" formatCode="0">
                  <c:v>1112.5769364044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2F-4BD0-9093-BC5C0FF99C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721.93190594063253</c:v>
                </c:pt>
                <c:pt idx="165" formatCode="0">
                  <c:v>751.61098343410231</c:v>
                </c:pt>
                <c:pt idx="166" formatCode="0">
                  <c:v>780.66850956645237</c:v>
                </c:pt>
                <c:pt idx="167" formatCode="0">
                  <c:v>810.03681137936235</c:v>
                </c:pt>
                <c:pt idx="168" formatCode="0">
                  <c:v>838.16201047003278</c:v>
                </c:pt>
                <c:pt idx="169" formatCode="0">
                  <c:v>864.26716763706372</c:v>
                </c:pt>
                <c:pt idx="170" formatCode="0">
                  <c:v>887.41995583877576</c:v>
                </c:pt>
                <c:pt idx="171" formatCode="0">
                  <c:v>914.76821572804636</c:v>
                </c:pt>
                <c:pt idx="172" formatCode="0">
                  <c:v>948.02121354795497</c:v>
                </c:pt>
                <c:pt idx="173" formatCode="0">
                  <c:v>982.51731409010313</c:v>
                </c:pt>
                <c:pt idx="174" formatCode="0">
                  <c:v>1016.5472511114115</c:v>
                </c:pt>
                <c:pt idx="175" formatCode="0">
                  <c:v>1050.8879638132796</c:v>
                </c:pt>
                <c:pt idx="176" formatCode="0">
                  <c:v>1086.1610035568276</c:v>
                </c:pt>
                <c:pt idx="177" formatCode="0">
                  <c:v>1123.2986973837349</c:v>
                </c:pt>
                <c:pt idx="178" formatCode="0">
                  <c:v>1162.9225966551214</c:v>
                </c:pt>
                <c:pt idx="179" formatCode="0">
                  <c:v>1203.6342108084673</c:v>
                </c:pt>
                <c:pt idx="180" formatCode="0">
                  <c:v>1244.9673763229332</c:v>
                </c:pt>
                <c:pt idx="181" formatCode="0">
                  <c:v>1287.2328688790788</c:v>
                </c:pt>
                <c:pt idx="182" formatCode="0">
                  <c:v>1331.0522398380238</c:v>
                </c:pt>
                <c:pt idx="183" formatCode="0">
                  <c:v>1376.8916527206079</c:v>
                </c:pt>
                <c:pt idx="184" formatCode="0">
                  <c:v>1424.5957196865518</c:v>
                </c:pt>
                <c:pt idx="185" formatCode="0">
                  <c:v>1473.6982772150147</c:v>
                </c:pt>
                <c:pt idx="186" formatCode="0">
                  <c:v>1524.0439374657176</c:v>
                </c:pt>
                <c:pt idx="187" formatCode="0">
                  <c:v>1575.9434761192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12F-4BD0-9093-BC5C0FF99C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726.12737762819108</c:v>
                </c:pt>
                <c:pt idx="165" formatCode="0">
                  <c:v>762.1773565731387</c:v>
                </c:pt>
                <c:pt idx="166" formatCode="0">
                  <c:v>799.47043824032596</c:v>
                </c:pt>
                <c:pt idx="167" formatCode="0">
                  <c:v>838.31739831031257</c:v>
                </c:pt>
                <c:pt idx="168" formatCode="0">
                  <c:v>878.09668542197903</c:v>
                </c:pt>
                <c:pt idx="169" formatCode="0">
                  <c:v>918.4975238947651</c:v>
                </c:pt>
                <c:pt idx="170" formatCode="0">
                  <c:v>959.20913804811119</c:v>
                </c:pt>
                <c:pt idx="171" formatCode="0">
                  <c:v>1003.339284687616</c:v>
                </c:pt>
                <c:pt idx="172" formatCode="0">
                  <c:v>1054.1511084591586</c:v>
                </c:pt>
                <c:pt idx="173" formatCode="0">
                  <c:v>1107.4491376751803</c:v>
                </c:pt>
                <c:pt idx="174" formatCode="0">
                  <c:v>1162.6118209745614</c:v>
                </c:pt>
                <c:pt idx="175" formatCode="0">
                  <c:v>1219.9499340378618</c:v>
                </c:pt>
                <c:pt idx="176" formatCode="0">
                  <c:v>1280.0850282262011</c:v>
                </c:pt>
                <c:pt idx="177" formatCode="0">
                  <c:v>1343.4832670604194</c:v>
                </c:pt>
                <c:pt idx="178" formatCode="0">
                  <c:v>1410.6108140613565</c:v>
                </c:pt>
                <c:pt idx="179" formatCode="0">
                  <c:v>1480.8461178678924</c:v>
                </c:pt>
                <c:pt idx="180" formatCode="0">
                  <c:v>1554.1891784800273</c:v>
                </c:pt>
                <c:pt idx="181" formatCode="0">
                  <c:v>1630.7953837380408</c:v>
                </c:pt>
                <c:pt idx="182" formatCode="0">
                  <c:v>1711.4416728433334</c:v>
                </c:pt>
                <c:pt idx="183" formatCode="0">
                  <c:v>1796.2834336361841</c:v>
                </c:pt>
                <c:pt idx="184" formatCode="0">
                  <c:v>1885.3206661165939</c:v>
                </c:pt>
                <c:pt idx="185" formatCode="0">
                  <c:v>1978.7087581248416</c:v>
                </c:pt>
                <c:pt idx="186" formatCode="0">
                  <c:v>2076.6030975012081</c:v>
                </c:pt>
                <c:pt idx="187" formatCode="0">
                  <c:v>2179.1590720859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12F-4BD0-9093-BC5C0FF99C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730.16746147546974</c:v>
                </c:pt>
                <c:pt idx="165" formatCode="0">
                  <c:v>772.74372971217508</c:v>
                </c:pt>
                <c:pt idx="166" formatCode="0">
                  <c:v>818.27236691419944</c:v>
                </c:pt>
                <c:pt idx="167" formatCode="0">
                  <c:v>866.5979852412629</c:v>
                </c:pt>
                <c:pt idx="168" formatCode="0">
                  <c:v>918.18674821420518</c:v>
                </c:pt>
                <c:pt idx="169" formatCode="0">
                  <c:v>973.34943151358641</c:v>
                </c:pt>
                <c:pt idx="170" formatCode="0">
                  <c:v>1032.396810819966</c:v>
                </c:pt>
                <c:pt idx="171" formatCode="0">
                  <c:v>1094.8627226125047</c:v>
                </c:pt>
                <c:pt idx="172" formatCode="0">
                  <c:v>1164.9426385787606</c:v>
                </c:pt>
                <c:pt idx="173" formatCode="0">
                  <c:v>1239.3734140728552</c:v>
                </c:pt>
                <c:pt idx="174" formatCode="0">
                  <c:v>1318.7766004559078</c:v>
                </c:pt>
                <c:pt idx="175" formatCode="0">
                  <c:v>1403.3075855681989</c:v>
                </c:pt>
                <c:pt idx="176" formatCode="0">
                  <c:v>1493.2771450902881</c:v>
                </c:pt>
                <c:pt idx="177" formatCode="0">
                  <c:v>1588.8406668624552</c:v>
                </c:pt>
                <c:pt idx="178" formatCode="0">
                  <c:v>1690.3089265652607</c:v>
                </c:pt>
                <c:pt idx="179" formatCode="0">
                  <c:v>1798.1480877195436</c:v>
                </c:pt>
                <c:pt idx="180" formatCode="0">
                  <c:v>1913.1350895267042</c:v>
                </c:pt>
                <c:pt idx="181" formatCode="0">
                  <c:v>2035.4253198270223</c:v>
                </c:pt>
                <c:pt idx="182" formatCode="0">
                  <c:v>2165.4849421413378</c:v>
                </c:pt>
                <c:pt idx="183" formatCode="0">
                  <c:v>2303.6247321502101</c:v>
                </c:pt>
                <c:pt idx="184" formatCode="0">
                  <c:v>2450.6216290550401</c:v>
                </c:pt>
                <c:pt idx="185" formatCode="0">
                  <c:v>2606.9417963766664</c:v>
                </c:pt>
                <c:pt idx="186" formatCode="0">
                  <c:v>2773.3621733164891</c:v>
                </c:pt>
                <c:pt idx="187" formatCode="0">
                  <c:v>2950.1935355550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33</c:v>
                </c:pt>
                <c:pt idx="1">
                  <c:v>13</c:v>
                </c:pt>
                <c:pt idx="2">
                  <c:v>54</c:v>
                </c:pt>
                <c:pt idx="3">
                  <c:v>101</c:v>
                </c:pt>
                <c:pt idx="4">
                  <c:v>65</c:v>
                </c:pt>
                <c:pt idx="5">
                  <c:v>56</c:v>
                </c:pt>
                <c:pt idx="6">
                  <c:v>66</c:v>
                </c:pt>
                <c:pt idx="7">
                  <c:v>11</c:v>
                </c:pt>
                <c:pt idx="8">
                  <c:v>20</c:v>
                </c:pt>
                <c:pt idx="9">
                  <c:v>57</c:v>
                </c:pt>
                <c:pt idx="10">
                  <c:v>43</c:v>
                </c:pt>
                <c:pt idx="11">
                  <c:v>43</c:v>
                </c:pt>
                <c:pt idx="12">
                  <c:v>31</c:v>
                </c:pt>
                <c:pt idx="13">
                  <c:v>27</c:v>
                </c:pt>
                <c:pt idx="14">
                  <c:v>9</c:v>
                </c:pt>
                <c:pt idx="15">
                  <c:v>9</c:v>
                </c:pt>
                <c:pt idx="16">
                  <c:v>49</c:v>
                </c:pt>
                <c:pt idx="17">
                  <c:v>42</c:v>
                </c:pt>
                <c:pt idx="18">
                  <c:v>29</c:v>
                </c:pt>
                <c:pt idx="19">
                  <c:v>29</c:v>
                </c:pt>
                <c:pt idx="20">
                  <c:v>25</c:v>
                </c:pt>
                <c:pt idx="21">
                  <c:v>8</c:v>
                </c:pt>
                <c:pt idx="22">
                  <c:v>11</c:v>
                </c:pt>
                <c:pt idx="23">
                  <c:v>42</c:v>
                </c:pt>
                <c:pt idx="24">
                  <c:v>34</c:v>
                </c:pt>
                <c:pt idx="25">
                  <c:v>21</c:v>
                </c:pt>
                <c:pt idx="26">
                  <c:v>25</c:v>
                </c:pt>
                <c:pt idx="27">
                  <c:v>23</c:v>
                </c:pt>
                <c:pt idx="28">
                  <c:v>10</c:v>
                </c:pt>
                <c:pt idx="29">
                  <c:v>1</c:v>
                </c:pt>
                <c:pt idx="30">
                  <c:v>29</c:v>
                </c:pt>
                <c:pt idx="31">
                  <c:v>38</c:v>
                </c:pt>
                <c:pt idx="32">
                  <c:v>17</c:v>
                </c:pt>
                <c:pt idx="33">
                  <c:v>25</c:v>
                </c:pt>
                <c:pt idx="34">
                  <c:v>28</c:v>
                </c:pt>
                <c:pt idx="35">
                  <c:v>5</c:v>
                </c:pt>
                <c:pt idx="36">
                  <c:v>6</c:v>
                </c:pt>
                <c:pt idx="37">
                  <c:v>23</c:v>
                </c:pt>
                <c:pt idx="38">
                  <c:v>24</c:v>
                </c:pt>
                <c:pt idx="39">
                  <c:v>22</c:v>
                </c:pt>
                <c:pt idx="40">
                  <c:v>11</c:v>
                </c:pt>
                <c:pt idx="41">
                  <c:v>17</c:v>
                </c:pt>
                <c:pt idx="42">
                  <c:v>1</c:v>
                </c:pt>
                <c:pt idx="43">
                  <c:v>0</c:v>
                </c:pt>
                <c:pt idx="44">
                  <c:v>11</c:v>
                </c:pt>
                <c:pt idx="45">
                  <c:v>17</c:v>
                </c:pt>
                <c:pt idx="46">
                  <c:v>5</c:v>
                </c:pt>
                <c:pt idx="47">
                  <c:v>6</c:v>
                </c:pt>
                <c:pt idx="48">
                  <c:v>9</c:v>
                </c:pt>
                <c:pt idx="49">
                  <c:v>2</c:v>
                </c:pt>
                <c:pt idx="50">
                  <c:v>0</c:v>
                </c:pt>
                <c:pt idx="51">
                  <c:v>8</c:v>
                </c:pt>
                <c:pt idx="52">
                  <c:v>1</c:v>
                </c:pt>
                <c:pt idx="53">
                  <c:v>3</c:v>
                </c:pt>
                <c:pt idx="54">
                  <c:v>2</c:v>
                </c:pt>
                <c:pt idx="55">
                  <c:v>3</c:v>
                </c:pt>
                <c:pt idx="56">
                  <c:v>1</c:v>
                </c:pt>
                <c:pt idx="57">
                  <c:v>1</c:v>
                </c:pt>
                <c:pt idx="58">
                  <c:v>5</c:v>
                </c:pt>
                <c:pt idx="59">
                  <c:v>16</c:v>
                </c:pt>
                <c:pt idx="60">
                  <c:v>12</c:v>
                </c:pt>
                <c:pt idx="61">
                  <c:v>16</c:v>
                </c:pt>
                <c:pt idx="62">
                  <c:v>21</c:v>
                </c:pt>
                <c:pt idx="63">
                  <c:v>7</c:v>
                </c:pt>
                <c:pt idx="64">
                  <c:v>4</c:v>
                </c:pt>
                <c:pt idx="65">
                  <c:v>21</c:v>
                </c:pt>
                <c:pt idx="66">
                  <c:v>8</c:v>
                </c:pt>
                <c:pt idx="67">
                  <c:v>38</c:v>
                </c:pt>
                <c:pt idx="68">
                  <c:v>28</c:v>
                </c:pt>
                <c:pt idx="69">
                  <c:v>42</c:v>
                </c:pt>
                <c:pt idx="70">
                  <c:v>21</c:v>
                </c:pt>
                <c:pt idx="71">
                  <c:v>19</c:v>
                </c:pt>
                <c:pt idx="72">
                  <c:v>39</c:v>
                </c:pt>
                <c:pt idx="73">
                  <c:v>35</c:v>
                </c:pt>
                <c:pt idx="74">
                  <c:v>35</c:v>
                </c:pt>
                <c:pt idx="75">
                  <c:v>29</c:v>
                </c:pt>
                <c:pt idx="76">
                  <c:v>23</c:v>
                </c:pt>
                <c:pt idx="77">
                  <c:v>34</c:v>
                </c:pt>
                <c:pt idx="78">
                  <c:v>12</c:v>
                </c:pt>
                <c:pt idx="79">
                  <c:v>33</c:v>
                </c:pt>
                <c:pt idx="80">
                  <c:v>35</c:v>
                </c:pt>
                <c:pt idx="81">
                  <c:v>42</c:v>
                </c:pt>
                <c:pt idx="82">
                  <c:v>16</c:v>
                </c:pt>
                <c:pt idx="83">
                  <c:v>30</c:v>
                </c:pt>
                <c:pt idx="84">
                  <c:v>11</c:v>
                </c:pt>
                <c:pt idx="85">
                  <c:v>4</c:v>
                </c:pt>
                <c:pt idx="86">
                  <c:v>26</c:v>
                </c:pt>
                <c:pt idx="87">
                  <c:v>35</c:v>
                </c:pt>
                <c:pt idx="88">
                  <c:v>36</c:v>
                </c:pt>
                <c:pt idx="89">
                  <c:v>33</c:v>
                </c:pt>
                <c:pt idx="90">
                  <c:v>27</c:v>
                </c:pt>
                <c:pt idx="91">
                  <c:v>10</c:v>
                </c:pt>
                <c:pt idx="92">
                  <c:v>9</c:v>
                </c:pt>
                <c:pt idx="93">
                  <c:v>20</c:v>
                </c:pt>
                <c:pt idx="94">
                  <c:v>23</c:v>
                </c:pt>
                <c:pt idx="95">
                  <c:v>13</c:v>
                </c:pt>
                <c:pt idx="96">
                  <c:v>12</c:v>
                </c:pt>
                <c:pt idx="97">
                  <c:v>12</c:v>
                </c:pt>
                <c:pt idx="98">
                  <c:v>5</c:v>
                </c:pt>
                <c:pt idx="99">
                  <c:v>1</c:v>
                </c:pt>
                <c:pt idx="100">
                  <c:v>12</c:v>
                </c:pt>
                <c:pt idx="101">
                  <c:v>12</c:v>
                </c:pt>
                <c:pt idx="102">
                  <c:v>8</c:v>
                </c:pt>
                <c:pt idx="103">
                  <c:v>12</c:v>
                </c:pt>
                <c:pt idx="104">
                  <c:v>14</c:v>
                </c:pt>
                <c:pt idx="105">
                  <c:v>6</c:v>
                </c:pt>
                <c:pt idx="106">
                  <c:v>3</c:v>
                </c:pt>
                <c:pt idx="107">
                  <c:v>17</c:v>
                </c:pt>
                <c:pt idx="108">
                  <c:v>14</c:v>
                </c:pt>
                <c:pt idx="109">
                  <c:v>4</c:v>
                </c:pt>
                <c:pt idx="110">
                  <c:v>6</c:v>
                </c:pt>
                <c:pt idx="111">
                  <c:v>4</c:v>
                </c:pt>
                <c:pt idx="112">
                  <c:v>3</c:v>
                </c:pt>
                <c:pt idx="113">
                  <c:v>2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7</c:v>
                </c:pt>
                <c:pt idx="118">
                  <c:v>9</c:v>
                </c:pt>
                <c:pt idx="119">
                  <c:v>8</c:v>
                </c:pt>
                <c:pt idx="120">
                  <c:v>1</c:v>
                </c:pt>
                <c:pt idx="121">
                  <c:v>10</c:v>
                </c:pt>
                <c:pt idx="122">
                  <c:v>14</c:v>
                </c:pt>
                <c:pt idx="123">
                  <c:v>15</c:v>
                </c:pt>
                <c:pt idx="124">
                  <c:v>12</c:v>
                </c:pt>
                <c:pt idx="125">
                  <c:v>10</c:v>
                </c:pt>
                <c:pt idx="126">
                  <c:v>0</c:v>
                </c:pt>
                <c:pt idx="127">
                  <c:v>6</c:v>
                </c:pt>
                <c:pt idx="128">
                  <c:v>13</c:v>
                </c:pt>
                <c:pt idx="129">
                  <c:v>20</c:v>
                </c:pt>
                <c:pt idx="130">
                  <c:v>16</c:v>
                </c:pt>
                <c:pt idx="131">
                  <c:v>13</c:v>
                </c:pt>
                <c:pt idx="132">
                  <c:v>19</c:v>
                </c:pt>
                <c:pt idx="133">
                  <c:v>9</c:v>
                </c:pt>
                <c:pt idx="134">
                  <c:v>3</c:v>
                </c:pt>
                <c:pt idx="135">
                  <c:v>30</c:v>
                </c:pt>
                <c:pt idx="136">
                  <c:v>36</c:v>
                </c:pt>
                <c:pt idx="137">
                  <c:v>27</c:v>
                </c:pt>
                <c:pt idx="138">
                  <c:v>44</c:v>
                </c:pt>
                <c:pt idx="139">
                  <c:v>14</c:v>
                </c:pt>
                <c:pt idx="140">
                  <c:v>7</c:v>
                </c:pt>
                <c:pt idx="141">
                  <c:v>7</c:v>
                </c:pt>
                <c:pt idx="142">
                  <c:v>32</c:v>
                </c:pt>
                <c:pt idx="143">
                  <c:v>25</c:v>
                </c:pt>
                <c:pt idx="144">
                  <c:v>22</c:v>
                </c:pt>
                <c:pt idx="145">
                  <c:v>21</c:v>
                </c:pt>
                <c:pt idx="146">
                  <c:v>20</c:v>
                </c:pt>
                <c:pt idx="147">
                  <c:v>16</c:v>
                </c:pt>
                <c:pt idx="148">
                  <c:v>15</c:v>
                </c:pt>
                <c:pt idx="149">
                  <c:v>32</c:v>
                </c:pt>
                <c:pt idx="150">
                  <c:v>21</c:v>
                </c:pt>
                <c:pt idx="151">
                  <c:v>38</c:v>
                </c:pt>
                <c:pt idx="152">
                  <c:v>42</c:v>
                </c:pt>
                <c:pt idx="153">
                  <c:v>51</c:v>
                </c:pt>
                <c:pt idx="154">
                  <c:v>22</c:v>
                </c:pt>
                <c:pt idx="155">
                  <c:v>10</c:v>
                </c:pt>
                <c:pt idx="156">
                  <c:v>60</c:v>
                </c:pt>
                <c:pt idx="157">
                  <c:v>51</c:v>
                </c:pt>
                <c:pt idx="158">
                  <c:v>44</c:v>
                </c:pt>
                <c:pt idx="159">
                  <c:v>45</c:v>
                </c:pt>
                <c:pt idx="160">
                  <c:v>47</c:v>
                </c:pt>
                <c:pt idx="161">
                  <c:v>42</c:v>
                </c:pt>
                <c:pt idx="162">
                  <c:v>7</c:v>
                </c:pt>
                <c:pt idx="163">
                  <c:v>87</c:v>
                </c:pt>
                <c:pt idx="164">
                  <c:v>106</c:v>
                </c:pt>
                <c:pt idx="165">
                  <c:v>95</c:v>
                </c:pt>
                <c:pt idx="166">
                  <c:v>110</c:v>
                </c:pt>
                <c:pt idx="167">
                  <c:v>120</c:v>
                </c:pt>
                <c:pt idx="168">
                  <c:v>65</c:v>
                </c:pt>
                <c:pt idx="169">
                  <c:v>37</c:v>
                </c:pt>
                <c:pt idx="170">
                  <c:v>133</c:v>
                </c:pt>
                <c:pt idx="171">
                  <c:v>218</c:v>
                </c:pt>
                <c:pt idx="172">
                  <c:v>199</c:v>
                </c:pt>
                <c:pt idx="173">
                  <c:v>251</c:v>
                </c:pt>
                <c:pt idx="174">
                  <c:v>236</c:v>
                </c:pt>
                <c:pt idx="175">
                  <c:v>117</c:v>
                </c:pt>
                <c:pt idx="176">
                  <c:v>102</c:v>
                </c:pt>
                <c:pt idx="177">
                  <c:v>274</c:v>
                </c:pt>
                <c:pt idx="178">
                  <c:v>352</c:v>
                </c:pt>
                <c:pt idx="179">
                  <c:v>338</c:v>
                </c:pt>
                <c:pt idx="180">
                  <c:v>278</c:v>
                </c:pt>
                <c:pt idx="181">
                  <c:v>354</c:v>
                </c:pt>
                <c:pt idx="182">
                  <c:v>296</c:v>
                </c:pt>
                <c:pt idx="183">
                  <c:v>136</c:v>
                </c:pt>
                <c:pt idx="184">
                  <c:v>445</c:v>
                </c:pt>
                <c:pt idx="185">
                  <c:v>468</c:v>
                </c:pt>
                <c:pt idx="186">
                  <c:v>517</c:v>
                </c:pt>
                <c:pt idx="187">
                  <c:v>454</c:v>
                </c:pt>
                <c:pt idx="188">
                  <c:v>558</c:v>
                </c:pt>
                <c:pt idx="189">
                  <c:v>291</c:v>
                </c:pt>
                <c:pt idx="190">
                  <c:v>93</c:v>
                </c:pt>
                <c:pt idx="191">
                  <c:v>673</c:v>
                </c:pt>
                <c:pt idx="192">
                  <c:v>907</c:v>
                </c:pt>
                <c:pt idx="193">
                  <c:v>640</c:v>
                </c:pt>
                <c:pt idx="194">
                  <c:v>528</c:v>
                </c:pt>
                <c:pt idx="195">
                  <c:v>582</c:v>
                </c:pt>
                <c:pt idx="196">
                  <c:v>647</c:v>
                </c:pt>
                <c:pt idx="197">
                  <c:v>202</c:v>
                </c:pt>
                <c:pt idx="198">
                  <c:v>661</c:v>
                </c:pt>
                <c:pt idx="199">
                  <c:v>1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6C-4350-A198-757D4EB92D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73">
                  <c:v>0</c:v>
                </c:pt>
                <c:pt idx="195">
                  <c:v>714</c:v>
                </c:pt>
                <c:pt idx="196">
                  <c:v>716</c:v>
                </c:pt>
                <c:pt idx="197">
                  <c:v>736</c:v>
                </c:pt>
                <c:pt idx="198">
                  <c:v>767</c:v>
                </c:pt>
                <c:pt idx="199">
                  <c:v>786</c:v>
                </c:pt>
                <c:pt idx="200">
                  <c:v>799</c:v>
                </c:pt>
                <c:pt idx="201">
                  <c:v>807</c:v>
                </c:pt>
                <c:pt idx="202">
                  <c:v>812</c:v>
                </c:pt>
                <c:pt idx="203">
                  <c:v>831</c:v>
                </c:pt>
                <c:pt idx="204">
                  <c:v>854</c:v>
                </c:pt>
                <c:pt idx="205">
                  <c:v>873</c:v>
                </c:pt>
                <c:pt idx="206">
                  <c:v>885</c:v>
                </c:pt>
                <c:pt idx="207">
                  <c:v>897</c:v>
                </c:pt>
                <c:pt idx="208">
                  <c:v>912</c:v>
                </c:pt>
                <c:pt idx="209">
                  <c:v>931</c:v>
                </c:pt>
                <c:pt idx="210">
                  <c:v>950</c:v>
                </c:pt>
                <c:pt idx="211">
                  <c:v>969</c:v>
                </c:pt>
                <c:pt idx="212">
                  <c:v>985</c:v>
                </c:pt>
                <c:pt idx="213">
                  <c:v>1001</c:v>
                </c:pt>
                <c:pt idx="214">
                  <c:v>1019</c:v>
                </c:pt>
                <c:pt idx="215">
                  <c:v>1038</c:v>
                </c:pt>
                <c:pt idx="216">
                  <c:v>1058</c:v>
                </c:pt>
                <c:pt idx="217">
                  <c:v>1077</c:v>
                </c:pt>
                <c:pt idx="218">
                  <c:v>1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6C-4350-A198-757D4EB92D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>
                  <c:v>740</c:v>
                </c:pt>
                <c:pt idx="196">
                  <c:v>759</c:v>
                </c:pt>
                <c:pt idx="197">
                  <c:v>790</c:v>
                </c:pt>
                <c:pt idx="198">
                  <c:v>829</c:v>
                </c:pt>
                <c:pt idx="199">
                  <c:v>861</c:v>
                </c:pt>
                <c:pt idx="200">
                  <c:v>889</c:v>
                </c:pt>
                <c:pt idx="201">
                  <c:v>915</c:v>
                </c:pt>
                <c:pt idx="202">
                  <c:v>940</c:v>
                </c:pt>
                <c:pt idx="203">
                  <c:v>976</c:v>
                </c:pt>
                <c:pt idx="204">
                  <c:v>1015</c:v>
                </c:pt>
                <c:pt idx="205">
                  <c:v>1052</c:v>
                </c:pt>
                <c:pt idx="206">
                  <c:v>1085</c:v>
                </c:pt>
                <c:pt idx="207">
                  <c:v>1120</c:v>
                </c:pt>
                <c:pt idx="208">
                  <c:v>1157</c:v>
                </c:pt>
                <c:pt idx="209">
                  <c:v>1199</c:v>
                </c:pt>
                <c:pt idx="210">
                  <c:v>1242</c:v>
                </c:pt>
                <c:pt idx="211">
                  <c:v>1285</c:v>
                </c:pt>
                <c:pt idx="212">
                  <c:v>1328</c:v>
                </c:pt>
                <c:pt idx="213">
                  <c:v>1372</c:v>
                </c:pt>
                <c:pt idx="214">
                  <c:v>1419</c:v>
                </c:pt>
                <c:pt idx="215">
                  <c:v>1469</c:v>
                </c:pt>
                <c:pt idx="216">
                  <c:v>1520</c:v>
                </c:pt>
                <c:pt idx="217">
                  <c:v>1572</c:v>
                </c:pt>
                <c:pt idx="218">
                  <c:v>1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6C-4350-A198-757D4EB92D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>
                  <c:v>766</c:v>
                </c:pt>
                <c:pt idx="196">
                  <c:v>801</c:v>
                </c:pt>
                <c:pt idx="197">
                  <c:v>843</c:v>
                </c:pt>
                <c:pt idx="198">
                  <c:v>891</c:v>
                </c:pt>
                <c:pt idx="199">
                  <c:v>937</c:v>
                </c:pt>
                <c:pt idx="200">
                  <c:v>982</c:v>
                </c:pt>
                <c:pt idx="201">
                  <c:v>1029</c:v>
                </c:pt>
                <c:pt idx="202">
                  <c:v>1077</c:v>
                </c:pt>
                <c:pt idx="203">
                  <c:v>1132</c:v>
                </c:pt>
                <c:pt idx="204">
                  <c:v>1191</c:v>
                </c:pt>
                <c:pt idx="205">
                  <c:v>1252</c:v>
                </c:pt>
                <c:pt idx="206">
                  <c:v>1312</c:v>
                </c:pt>
                <c:pt idx="207">
                  <c:v>1375</c:v>
                </c:pt>
                <c:pt idx="208">
                  <c:v>1443</c:v>
                </c:pt>
                <c:pt idx="209">
                  <c:v>1516</c:v>
                </c:pt>
                <c:pt idx="210">
                  <c:v>1592</c:v>
                </c:pt>
                <c:pt idx="211">
                  <c:v>1671</c:v>
                </c:pt>
                <c:pt idx="212">
                  <c:v>1753</c:v>
                </c:pt>
                <c:pt idx="213">
                  <c:v>1839</c:v>
                </c:pt>
                <c:pt idx="214">
                  <c:v>1930</c:v>
                </c:pt>
                <c:pt idx="215">
                  <c:v>2026</c:v>
                </c:pt>
                <c:pt idx="216">
                  <c:v>2126</c:v>
                </c:pt>
                <c:pt idx="217">
                  <c:v>2232</c:v>
                </c:pt>
                <c:pt idx="218">
                  <c:v>2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6C-4350-A198-757D4EB92D7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>
                  <c:v>792</c:v>
                </c:pt>
                <c:pt idx="196">
                  <c:v>843</c:v>
                </c:pt>
                <c:pt idx="197">
                  <c:v>897</c:v>
                </c:pt>
                <c:pt idx="198">
                  <c:v>953</c:v>
                </c:pt>
                <c:pt idx="199">
                  <c:v>1014</c:v>
                </c:pt>
                <c:pt idx="200">
                  <c:v>1079</c:v>
                </c:pt>
                <c:pt idx="201">
                  <c:v>1149</c:v>
                </c:pt>
                <c:pt idx="202">
                  <c:v>1223</c:v>
                </c:pt>
                <c:pt idx="203">
                  <c:v>1301</c:v>
                </c:pt>
                <c:pt idx="204">
                  <c:v>1384</c:v>
                </c:pt>
                <c:pt idx="205">
                  <c:v>1472</c:v>
                </c:pt>
                <c:pt idx="206">
                  <c:v>1567</c:v>
                </c:pt>
                <c:pt idx="207">
                  <c:v>1667</c:v>
                </c:pt>
                <c:pt idx="208">
                  <c:v>1774</c:v>
                </c:pt>
                <c:pt idx="209">
                  <c:v>1887</c:v>
                </c:pt>
                <c:pt idx="210">
                  <c:v>2007</c:v>
                </c:pt>
                <c:pt idx="211">
                  <c:v>2135</c:v>
                </c:pt>
                <c:pt idx="212">
                  <c:v>2272</c:v>
                </c:pt>
                <c:pt idx="213">
                  <c:v>2417</c:v>
                </c:pt>
                <c:pt idx="214">
                  <c:v>2571</c:v>
                </c:pt>
                <c:pt idx="215">
                  <c:v>2735</c:v>
                </c:pt>
                <c:pt idx="216">
                  <c:v>2909</c:v>
                </c:pt>
                <c:pt idx="217">
                  <c:v>3094</c:v>
                </c:pt>
                <c:pt idx="218">
                  <c:v>32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087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8822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94943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20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5183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065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59008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830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21305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20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934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598753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384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86783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882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0426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719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Krátkodobé projekce vývoj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Střed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B4ECA94-5826-42D2-BAD1-DE3B69CA8FD8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C780A69-D94E-47FF-B50A-DD9CA90BE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04E2B7F-2EC1-48AD-8E63-E2935E488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EAC62B5-FA3A-47C2-B02B-5B0DC11045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51439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Obdélník 55">
            <a:extLst>
              <a:ext uri="{FF2B5EF4-FFF2-40B4-BE49-F238E27FC236}">
                <a16:creationId xmlns:a16="http://schemas.microsoft.com/office/drawing/2014/main" id="{04103511-5558-4CD1-B3AE-769C491AEAE0}"/>
              </a:ext>
            </a:extLst>
          </p:cNvPr>
          <p:cNvSpPr/>
          <p:nvPr/>
        </p:nvSpPr>
        <p:spPr>
          <a:xfrm>
            <a:off x="4154743" y="419813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00BED0B6-58C6-4103-9B7C-58EA8A727E1D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414B367-E1D1-413E-9F60-AA428EB280E4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815500A-2127-4C34-BCB6-7E0D3654D395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BCC4CFB7-2FDF-4F26-9AEA-9FE63985CE1C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342E68F0-B45C-46A1-ABE8-D9C67FD3A415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8" name="Přímá spojnice se šipkou 37">
            <a:extLst>
              <a:ext uri="{FF2B5EF4-FFF2-40B4-BE49-F238E27FC236}">
                <a16:creationId xmlns:a16="http://schemas.microsoft.com/office/drawing/2014/main" id="{AF95F2A3-AFF2-4AB2-A3D8-E0FC01F86553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9" name="Přímá spojnice se šipkou 38">
            <a:extLst>
              <a:ext uri="{FF2B5EF4-FFF2-40B4-BE49-F238E27FC236}">
                <a16:creationId xmlns:a16="http://schemas.microsoft.com/office/drawing/2014/main" id="{52B235F8-4EEA-4665-88EC-BAE9F9AAE856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3A7061B4-8720-48C5-ADAD-6100B99CE85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1B96A9B9-47AA-4ED0-9DDE-22D3660F68A6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7B4F8BE2-F3E6-4A5C-A177-FE3A172365AC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3" name="Přímá spojnice 42">
            <a:extLst>
              <a:ext uri="{FF2B5EF4-FFF2-40B4-BE49-F238E27FC236}">
                <a16:creationId xmlns:a16="http://schemas.microsoft.com/office/drawing/2014/main" id="{53BBD8FE-281F-4107-BCB7-60AF5B1641B9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B1D9E28E-4414-4A34-AB19-519FBE7DC145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F680B43A-5F7D-4B33-AC2E-C16AA1C2C895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B1E23F97-353E-47B0-966F-43E82ADFCF6D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0CDFC231-391D-4AD8-92DB-CA6BB57141FC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4135F67-FBB1-48A0-B94E-BDF61413180B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 984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 968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 448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32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3EE697EC-09CD-4713-93D9-D25A7AE2D7F4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F8A33C7-CE1C-4860-B891-BC3CCBA503A5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33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F0B769-9E18-45F0-89C4-8D22EE771EAC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D960978-7BB1-42CA-95DD-3FE1D770A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B1A8ED9-4024-42AE-9EED-709A4416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182AE65E-DEFC-4B4F-B1D6-B8C73D044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6624722"/>
              </p:ext>
            </p:extLst>
          </p:nvPr>
        </p:nvGraphicFramePr>
        <p:xfrm>
          <a:off x="219185" y="965405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8" name="TextBox 6">
            <a:extLst>
              <a:ext uri="{FF2B5EF4-FFF2-40B4-BE49-F238E27FC236}">
                <a16:creationId xmlns:a16="http://schemas.microsoft.com/office/drawing/2014/main" id="{291016E3-02E0-4576-A49D-8B2C2D43F645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CD9D82F-3ADE-4042-8152-26547273AE19}"/>
              </a:ext>
            </a:extLst>
          </p:cNvPr>
          <p:cNvSpPr txBox="1"/>
          <p:nvPr/>
        </p:nvSpPr>
        <p:spPr>
          <a:xfrm>
            <a:off x="11271281" y="534972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822E960-B842-490F-92DB-3DB1680B62BE}"/>
              </a:ext>
            </a:extLst>
          </p:cNvPr>
          <p:cNvSpPr txBox="1"/>
          <p:nvPr/>
        </p:nvSpPr>
        <p:spPr>
          <a:xfrm>
            <a:off x="11271282" y="55953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6ECFA6D-5AA7-4697-8EB7-F624FA0D4A9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5C0F9816-D6E4-48CF-BDB8-075E507D5301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34445BD5-74ED-4A45-8567-779273E77747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61267C3D-5B86-4DDF-B70A-2853CEF96CA1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1702D727-DBB7-4C7C-A7E8-5C24BB53D240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509054FA-DC99-4FD5-9F68-EB7F89CD7418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6" name="Přímá spojnice 45">
            <a:extLst>
              <a:ext uri="{FF2B5EF4-FFF2-40B4-BE49-F238E27FC236}">
                <a16:creationId xmlns:a16="http://schemas.microsoft.com/office/drawing/2014/main" id="{F67B00BB-381E-48A3-865A-57A7D1ECDCE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8ED99F56-7847-4EB3-B2EF-E1AC8860291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18DA8E35-391D-4BDD-8625-E72094EB1C1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7F126164-CFB3-401A-B6CD-098CAC76ACF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96B6A84C-05B0-47D3-81D3-E10709372D0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942CD241-839A-4643-823E-5EB7793121F9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34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7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25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8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37F9CA9A-FDCA-433B-B9C5-654EF11564F4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483752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9B2F9A8-B201-4A43-927B-92767CAD080F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AEAF53BE-B74F-49C5-9A1D-EADC80700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6AEE8B5-DCDB-42AC-8BFE-3550B19619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74A7F76-2173-4639-81E0-7BFDFFE09F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2719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Obdélník 41">
            <a:extLst>
              <a:ext uri="{FF2B5EF4-FFF2-40B4-BE49-F238E27FC236}">
                <a16:creationId xmlns:a16="http://schemas.microsoft.com/office/drawing/2014/main" id="{CE8F3FB1-8F19-465F-A8B7-52E4D4988956}"/>
              </a:ext>
            </a:extLst>
          </p:cNvPr>
          <p:cNvSpPr/>
          <p:nvPr/>
        </p:nvSpPr>
        <p:spPr>
          <a:xfrm>
            <a:off x="4170341" y="418768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0985B878-71B3-43B8-BA31-269287D9D99A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3327804-C280-44A1-BF96-8E6436B2F0B4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D8301E44-27D1-4776-AB4A-CE36DDB0322D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4010196-9346-4B13-B2DF-6AA291BE01B1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6254854F-7A84-4254-BF86-BD39C8485A3F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810C4E49-0F1C-4CED-BF83-4F1B18F40A90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FEC50D9C-FF5D-46CE-8900-9C70C9E2B388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845D714-FEE9-4F03-A174-664D86F8928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BA181E0E-50DB-49FE-B87E-E5448B30D43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CFCE75A7-42FB-4481-8BCA-B34ADC47F10E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6313A0BE-5CCA-497D-AF19-147D32847C08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AE322584-03F9-46F9-8992-E796935357A8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BDCED671-C6CE-4D08-B14F-9454B787877D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420967E8-F0AA-45BC-940E-7105A10CCD28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7" name="Přímá spojnice 56">
            <a:extLst>
              <a:ext uri="{FF2B5EF4-FFF2-40B4-BE49-F238E27FC236}">
                <a16:creationId xmlns:a16="http://schemas.microsoft.com/office/drawing/2014/main" id="{FED913EB-BFA9-4927-8E50-992521F5A5E0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5650516E-2272-4EF1-A393-26EF412C2A57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 04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878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997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34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0DF9DA92-188D-4329-AACB-68032455947A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0197AA2-3500-43F5-B783-DD13C3A3CA0A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2312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4E56BAA-D2B6-477F-92E5-91C0FE4B889D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3DF257B-B72D-4A98-990E-9A7F81FB7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F9C1474-D0A7-48EC-9CE7-C3A528AF6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A817F772-1398-44AE-8A9E-27BA3BC9F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3269992"/>
              </p:ext>
            </p:extLst>
          </p:nvPr>
        </p:nvGraphicFramePr>
        <p:xfrm>
          <a:off x="290212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C2A8E74-22FB-46C4-9B5E-FF2199882A5D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88ABBC53-C650-4CB5-9EFD-2370B83A3062}"/>
              </a:ext>
            </a:extLst>
          </p:cNvPr>
          <p:cNvSpPr txBox="1"/>
          <p:nvPr/>
        </p:nvSpPr>
        <p:spPr>
          <a:xfrm>
            <a:off x="11340447" y="529000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9F1F2AE9-618D-4371-AA53-2386A938983A}"/>
              </a:ext>
            </a:extLst>
          </p:cNvPr>
          <p:cNvSpPr txBox="1"/>
          <p:nvPr/>
        </p:nvSpPr>
        <p:spPr>
          <a:xfrm>
            <a:off x="11340447" y="552961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FDB4222-C3CB-463D-B0F3-D2C63F3BAA2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115E9EAC-C454-45A0-AADE-80B695BB848A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46E39526-E870-4408-98CD-B3C72AED016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85812721-3FC5-4FC1-8853-CE5657A6D69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0F951E7E-4C9B-4BFF-96EF-3DCCB1B80C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6" name="Přímá spojnice 45">
            <a:extLst>
              <a:ext uri="{FF2B5EF4-FFF2-40B4-BE49-F238E27FC236}">
                <a16:creationId xmlns:a16="http://schemas.microsoft.com/office/drawing/2014/main" id="{0E77DFE0-4290-4A7D-B510-694D9E2F8237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2A27CE26-E374-466B-BB7C-10ED36D24522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CB9D9211-8C78-4457-A74B-965F378B08DC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B7B2AF21-28CD-4A12-8DAC-EF5EE1EC015A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8934933C-E9E6-410E-AF82-10742DE52F2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244CD561-C5DA-429A-ADB3-4D8AA60B0405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95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17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57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B050"/>
                </a:solidFill>
                <a:latin typeface="Calibri" panose="020F0502020204030204" pitchFamily="34" charset="0"/>
              </a:rPr>
              <a:t>1 11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91A6D4E5-92DA-42E7-8C62-D1D24323430F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42C821C-B2D3-479E-851C-D0590D008856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94734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lzeň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2FD582-F127-4B26-8DD9-E7C97F101DA5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D95C4C7-A26F-406C-9CEE-DD7B32903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E1FE654C-29EB-40A0-B22D-E3EE463F2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5D038867-9827-497F-BB93-3FFEA3734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064055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Obdélník 55">
            <a:extLst>
              <a:ext uri="{FF2B5EF4-FFF2-40B4-BE49-F238E27FC236}">
                <a16:creationId xmlns:a16="http://schemas.microsoft.com/office/drawing/2014/main" id="{40AA1B24-61EF-413A-9CBD-006075ADCCD0}"/>
              </a:ext>
            </a:extLst>
          </p:cNvPr>
          <p:cNvSpPr/>
          <p:nvPr/>
        </p:nvSpPr>
        <p:spPr>
          <a:xfrm>
            <a:off x="4173268" y="41897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23736672-A58E-4850-9B04-89DCB84759A5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DD3CB77C-DBA2-424E-9A28-858957209711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2F2499AE-9A71-4A7B-875E-0F8C5D3C26ED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49CE7CB-740C-4989-BD2C-2A6304FC3E0B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DD074584-4B20-41BC-9D78-8AF80A538A19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30A47DD1-8C67-43A1-A4B0-F753FD5AF9F0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Přímá spojnice se šipkou 37">
            <a:extLst>
              <a:ext uri="{FF2B5EF4-FFF2-40B4-BE49-F238E27FC236}">
                <a16:creationId xmlns:a16="http://schemas.microsoft.com/office/drawing/2014/main" id="{574EC9A1-7E01-47C7-9635-7D402747890B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00F90D53-7F23-4096-A021-6366D93DFFE3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5C080680-8979-4D01-9C9E-86BDD511AA8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6B2FD05F-FE43-4992-87ED-101E8E5876CD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09194334-173E-44FA-A454-A2FA5094BB3D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3" name="Přímá spojnice 42">
            <a:extLst>
              <a:ext uri="{FF2B5EF4-FFF2-40B4-BE49-F238E27FC236}">
                <a16:creationId xmlns:a16="http://schemas.microsoft.com/office/drawing/2014/main" id="{28884AD0-F877-4CD0-A653-A0F3ED693448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A57E78AD-B0DB-451D-A0A4-FDC646B5636D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C39193C0-66FB-43B2-8193-4BF031AE9922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658FFBCA-AADE-47E1-A33C-3EAE3D942B96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0CB88ED8-D88B-4426-9FF7-EB39A57996D0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292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341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62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09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0D88557D-330B-4E9E-B992-2AADBDD21654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BAD8F2C-F595-4DC0-BB96-0518D6CC1167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962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69A89A7-DAB2-440B-B308-CC59CEAFF99B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8D76F95-54CC-4BF7-9E50-277CA7F9C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05C61523-313B-457A-BE4A-AF29BAB1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61FF1AAF-B9A2-458B-9741-4247E17FFB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6888426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Box 6">
            <a:extLst>
              <a:ext uri="{FF2B5EF4-FFF2-40B4-BE49-F238E27FC236}">
                <a16:creationId xmlns:a16="http://schemas.microsoft.com/office/drawing/2014/main" id="{684CCF87-CC70-479D-ADC3-6E9E0F99A046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B8EC1509-4F26-4045-B315-DA57B28BFA72}"/>
              </a:ext>
            </a:extLst>
          </p:cNvPr>
          <p:cNvSpPr txBox="1"/>
          <p:nvPr/>
        </p:nvSpPr>
        <p:spPr>
          <a:xfrm>
            <a:off x="11589311" y="52579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440AC9D3-763F-400F-99DC-ED27E3DBAE0B}"/>
              </a:ext>
            </a:extLst>
          </p:cNvPr>
          <p:cNvSpPr txBox="1"/>
          <p:nvPr/>
        </p:nvSpPr>
        <p:spPr>
          <a:xfrm>
            <a:off x="11599020" y="550083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F5C76EA-91EE-4D5D-B984-81E5F286244F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566335C-B9AC-46F1-989B-47C009384140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2EBB6B7-062D-447E-96CA-5BE2705A61F1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7BEA0631-920A-481E-B828-FA2CD23307B8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7BC4C308-AC7E-4534-BA2E-232A8C694BAF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3CED3A8D-A4F2-4809-9645-592E55354DC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6D7D851D-25A4-407C-B750-D5DF0F5AEE0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BCA1CA41-0CE8-4A48-B10B-D22A05BEF81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DFAFBA7C-6F2C-45A3-952F-CAA14ED71309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464834B8-0660-44EA-9E00-79F734A13E53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69FC660-2E89-464C-AD69-6F1CD9DE3040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61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93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39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8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EAA66098-CDDE-4098-BA32-369CC05B369F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6DF6DF2-B8EF-4E44-AE18-A9F01855EA9D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33474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Karlovar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FBFC422-E236-4B21-AB38-11C2E04C46CE}"/>
              </a:ext>
            </a:extLst>
          </p:cNvPr>
          <p:cNvGrpSpPr/>
          <p:nvPr/>
        </p:nvGrpSpPr>
        <p:grpSpPr>
          <a:xfrm>
            <a:off x="10932032" y="591658"/>
            <a:ext cx="1158835" cy="360249"/>
            <a:chOff x="12375318" y="2247704"/>
            <a:chExt cx="1580446" cy="49131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D0D3736C-EAE3-484F-AA0F-92A696BFF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4B45D1E-2D06-41E6-A578-E0B71576A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AA678E63-6786-48FF-A3BC-E2ECA97836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507930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5" name="Obdélník 54">
            <a:extLst>
              <a:ext uri="{FF2B5EF4-FFF2-40B4-BE49-F238E27FC236}">
                <a16:creationId xmlns:a16="http://schemas.microsoft.com/office/drawing/2014/main" id="{AFFEE0C2-2851-4C21-A686-5C13250FDC48}"/>
              </a:ext>
            </a:extLst>
          </p:cNvPr>
          <p:cNvSpPr/>
          <p:nvPr/>
        </p:nvSpPr>
        <p:spPr>
          <a:xfrm>
            <a:off x="4154743" y="427654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DB6A8200-226E-47CF-B2ED-9063BF01BC7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E48E693C-528A-4B12-A573-6B57C2E25ED0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8EE775B1-04F0-4850-8A3B-810AA3742393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F1D30AB-B172-46AC-B376-71E3B6836341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5FD857A-F518-4ACB-BB52-4C8EE94A431B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EB5517FE-8593-49D5-A663-4BEE9614C67A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30A32A8C-6989-4DD7-B74B-3775D2F4590B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1D4E892A-F2F3-407C-B1EE-AB8AA86C21A7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60B77F6-EA7A-4B44-8E97-DDB57F2D2E2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01ECB041-60A3-4166-8DB1-C76F39D8008D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61713AE6-E47B-41DE-B4B9-E58C374B5F7C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25BEB4BB-6D43-4246-821D-3529749C67DB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91DAF13F-E168-4844-8F05-979FC8C509FF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BDA38202-6C39-4711-A386-2B4DA258FF67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53BBB668-78B3-4CB5-8600-8ECF8057DA62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1F6003A-46B9-43BB-8252-6C94D3F05B34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38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83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66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7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DBDDB3F-FB9A-42A4-89A5-2E0F7B158B9D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70D5697-CF1F-4124-BDDF-290FB0CE5B83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9027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76E8261-2B67-4C33-B4F7-528BFCEC26E0}"/>
              </a:ext>
            </a:extLst>
          </p:cNvPr>
          <p:cNvGrpSpPr/>
          <p:nvPr/>
        </p:nvGrpSpPr>
        <p:grpSpPr>
          <a:xfrm>
            <a:off x="10932032" y="583269"/>
            <a:ext cx="1158835" cy="360249"/>
            <a:chOff x="12375318" y="2247704"/>
            <a:chExt cx="1580446" cy="49131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C6750D1-766B-4DC6-A446-888FBBECA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A8558FC-EC62-4A66-84EF-00BCCE678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526224FA-9FB7-4B1B-A3B8-F29890F54B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313469"/>
              </p:ext>
            </p:extLst>
          </p:nvPr>
        </p:nvGraphicFramePr>
        <p:xfrm>
          <a:off x="254705" y="1205099"/>
          <a:ext cx="11354940" cy="57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FB01BA7-B3B3-43DD-A979-3DB4E10D06CE}"/>
              </a:ext>
            </a:extLst>
          </p:cNvPr>
          <p:cNvSpPr txBox="1"/>
          <p:nvPr/>
        </p:nvSpPr>
        <p:spPr>
          <a:xfrm rot="16200000">
            <a:off x="-1499672" y="3699517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AB4FD73-3EC5-4F0B-8CE3-063C5021AA9E}"/>
              </a:ext>
            </a:extLst>
          </p:cNvPr>
          <p:cNvSpPr txBox="1"/>
          <p:nvPr/>
        </p:nvSpPr>
        <p:spPr>
          <a:xfrm>
            <a:off x="11299031" y="513407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799379C0-2EB0-44E8-9795-0B0398F3DA95}"/>
              </a:ext>
            </a:extLst>
          </p:cNvPr>
          <p:cNvSpPr txBox="1"/>
          <p:nvPr/>
        </p:nvSpPr>
        <p:spPr>
          <a:xfrm>
            <a:off x="11284167" y="558165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836687-AA6B-496F-84C6-4B6D9D9B066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8FC2AC4-376D-4FF6-B61B-00E2A3588650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53ABAEA-A564-4602-BFC5-0B375F26CB37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05D39800-7507-4744-A145-389E6E88A1B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C65A7068-4A6C-4ED9-91AB-E229AF2A1246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97137AC7-68E5-4EC8-8AC3-FC7308FEE4FD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A04D6832-0ECF-4764-92A9-2C35B87FA020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E4C53B6-1D79-4137-B77C-58A88C24CA6C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63AC563B-E6D8-4AB7-B5E9-83F09680716D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1F6157FD-BCDD-49FC-BB8B-CE4DCDD7B8FD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42A42C2-E613-40B3-A150-EAD354D25650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6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3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6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2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53AC7E85-6C59-447F-9C1E-598E4C6BA065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799EE7D-3E47-4851-8690-5037E23C3DFC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48728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Úst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CA98E9-3F12-45A5-B245-E25115DAE662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010AB9B-9544-4928-B356-5BDE371FA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862A44F-3ED3-415B-B88C-C1161FBFD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7ABFEE1-0546-4345-AE0D-B2F2EED923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385509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ADFEFBA8-9304-4BCA-80CA-DD4F446C8F42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137C37AB-CC39-4381-88D5-1D33FD8B1E9A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CFFA78F-1506-41BD-88ED-6B1FB704CA0C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D885178-86E7-4283-8594-0BC03BC07E21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49C57CB-B67B-44A1-B6BA-E535A6102FFF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9167707D-0331-408E-A3DC-444F46CDF2F4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19BDDE87-71D0-4E4D-9FC5-2D97067993CD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E0B80C5D-5595-415E-AD26-BEA5C279812F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3D59EE83-7CB2-47F5-92F3-B3C0B5F720E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DD0CC1F1-40FD-4F79-B296-EF443DB03D99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58131428-FD30-4624-A418-C29BB757AAE5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9AB75CA5-4B2B-4AED-A32B-BCDB15D1669B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7C36C9A2-DC12-49B1-8809-EAD5A3A4A522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B1EBDBFC-A5C8-49F9-B05C-603ED1FADD14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0B3B0933-8F1E-4F30-A6FA-877AE5654B50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F79EC9A5-F097-492F-A3CF-08677F01AC16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644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880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305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80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C2691E14-0CE6-4CDE-B81D-B51E9C2FAE12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75826619-C727-43C1-8611-52D155842442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70CDD84-EB74-4AF6-BBD1-CBEFA387AD29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172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6F6FC35-B8B3-4DB0-86D7-49EAD913D3DA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FBF10BED-F1F7-4361-BEC4-47E381B67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BB15BC3C-9CDB-4C5F-A62C-DE2A8D4D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7ADD7188-A0C7-4A07-8FED-860A600B8A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466965"/>
              </p:ext>
            </p:extLst>
          </p:nvPr>
        </p:nvGraphicFramePr>
        <p:xfrm>
          <a:off x="556549" y="1311634"/>
          <a:ext cx="11354940" cy="5605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91F6454-ECF1-41FD-B341-F22744CEB1AB}"/>
              </a:ext>
            </a:extLst>
          </p:cNvPr>
          <p:cNvSpPr txBox="1"/>
          <p:nvPr/>
        </p:nvSpPr>
        <p:spPr>
          <a:xfrm rot="16200000">
            <a:off x="-1263868" y="368992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8A62AAF-2CB0-4E8B-91BA-4B8965255F3A}"/>
              </a:ext>
            </a:extLst>
          </p:cNvPr>
          <p:cNvSpPr txBox="1"/>
          <p:nvPr/>
        </p:nvSpPr>
        <p:spPr>
          <a:xfrm>
            <a:off x="11611832" y="53110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4D4B02-CC39-426C-83D8-65A9DD8A16E6}"/>
              </a:ext>
            </a:extLst>
          </p:cNvPr>
          <p:cNvSpPr txBox="1"/>
          <p:nvPr/>
        </p:nvSpPr>
        <p:spPr>
          <a:xfrm>
            <a:off x="11611833" y="559027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038BBE9-3C3D-4D78-A653-665110142D6D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D317635-B0D6-45D8-A357-58DD21DAC49A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0F94A3B5-2F8D-4980-B9C0-8907DCB92932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8557C05C-20A3-4FEA-A6A8-38C2EFC73C9D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9837ABA5-EB09-4BF0-932B-C80FBD12ECC2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150EAE50-3DC3-41FA-B9BB-8FE2F1FA722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E416C4BC-B933-4B41-ABD9-149EC3AEBE6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EDC3AAD5-83A7-41A6-B752-385FFBD8B4C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7B8B3181-0D28-4E74-B2DD-A8829BEB0BC7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02BB5A8C-778A-4708-80F2-47F7E7FC3DAC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E1D265C5-207B-47F6-9C6A-9F219ABC1BAF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51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12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81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73 na 100 tisíc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21084F36-D66A-49EA-B8D7-50EA85FDB286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349FBE5-A475-4E62-A391-1145D8747202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81811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Stav a vývoj epidemie COVID-19 </a:t>
            </a:r>
            <a:br>
              <a:rPr lang="cs-CZ" b="1" dirty="0"/>
            </a:br>
            <a:r>
              <a:rPr lang="cs-CZ" b="1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rojekce vývoje</a:t>
            </a:r>
            <a:endParaRPr lang="en-US" sz="4800" b="1" dirty="0"/>
          </a:p>
          <a:p>
            <a:r>
              <a:rPr lang="en-US" sz="3200" b="1" i="1" dirty="0">
                <a:solidFill>
                  <a:srgbClr val="C00000"/>
                </a:solidFill>
              </a:rPr>
              <a:t>- </a:t>
            </a:r>
            <a:r>
              <a:rPr lang="cs-CZ" sz="3200" b="1" i="1" dirty="0">
                <a:solidFill>
                  <a:srgbClr val="C00000"/>
                </a:solidFill>
              </a:rPr>
              <a:t>aktualizace k </a:t>
            </a:r>
            <a:r>
              <a:rPr lang="en-US" sz="3200" b="1" i="1" dirty="0">
                <a:solidFill>
                  <a:srgbClr val="C00000"/>
                </a:solidFill>
              </a:rPr>
              <a:t>16</a:t>
            </a:r>
            <a:r>
              <a:rPr lang="cs-CZ" sz="3200" b="1" i="1" dirty="0">
                <a:solidFill>
                  <a:srgbClr val="C00000"/>
                </a:solidFill>
              </a:rPr>
              <a:t>. 11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5172114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Liber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95AB3A1-66AD-4F90-923E-58DA24A2ACA2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3D1087B-18D3-433E-AF83-05324266E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F8F3D312-CF77-42CC-B5A2-88110AB3A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350C6DE2-4202-47BE-AF2A-698310748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824764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5" name="TextBox 6">
            <a:extLst>
              <a:ext uri="{FF2B5EF4-FFF2-40B4-BE49-F238E27FC236}">
                <a16:creationId xmlns:a16="http://schemas.microsoft.com/office/drawing/2014/main" id="{606233FC-1831-4181-B01B-C53B961C990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Obdélník 85">
            <a:extLst>
              <a:ext uri="{FF2B5EF4-FFF2-40B4-BE49-F238E27FC236}">
                <a16:creationId xmlns:a16="http://schemas.microsoft.com/office/drawing/2014/main" id="{D6F37C8C-4DE1-4B75-8D12-8F441AF54CB6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87" name="TextovéPole 86">
            <a:extLst>
              <a:ext uri="{FF2B5EF4-FFF2-40B4-BE49-F238E27FC236}">
                <a16:creationId xmlns:a16="http://schemas.microsoft.com/office/drawing/2014/main" id="{1B26566F-9D9D-4E09-9C5B-9CD468F631FB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88" name="TextovéPole 87">
            <a:extLst>
              <a:ext uri="{FF2B5EF4-FFF2-40B4-BE49-F238E27FC236}">
                <a16:creationId xmlns:a16="http://schemas.microsoft.com/office/drawing/2014/main" id="{EB1AADA3-5048-4073-AD8D-7C157480561F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89" name="TextovéPole 88">
            <a:extLst>
              <a:ext uri="{FF2B5EF4-FFF2-40B4-BE49-F238E27FC236}">
                <a16:creationId xmlns:a16="http://schemas.microsoft.com/office/drawing/2014/main" id="{1AF70842-4AFF-44E7-916A-51545BD8B497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90" name="Přímá spojnice se šipkou 89">
            <a:extLst>
              <a:ext uri="{FF2B5EF4-FFF2-40B4-BE49-F238E27FC236}">
                <a16:creationId xmlns:a16="http://schemas.microsoft.com/office/drawing/2014/main" id="{A28C80D7-C214-4A1C-9348-A568E5C2527A}"/>
              </a:ext>
            </a:extLst>
          </p:cNvPr>
          <p:cNvCxnSpPr>
            <a:cxnSpLocks/>
            <a:stCxn id="87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1" name="Přímá spojnice se šipkou 90">
            <a:extLst>
              <a:ext uri="{FF2B5EF4-FFF2-40B4-BE49-F238E27FC236}">
                <a16:creationId xmlns:a16="http://schemas.microsoft.com/office/drawing/2014/main" id="{D545F6FE-13EB-4229-9B5B-112A4E6278C2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" name="TextovéPole 91">
            <a:extLst>
              <a:ext uri="{FF2B5EF4-FFF2-40B4-BE49-F238E27FC236}">
                <a16:creationId xmlns:a16="http://schemas.microsoft.com/office/drawing/2014/main" id="{1142E874-56F3-4056-87E6-B981C925D1FD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93" name="Přímá spojnice 92">
            <a:extLst>
              <a:ext uri="{FF2B5EF4-FFF2-40B4-BE49-F238E27FC236}">
                <a16:creationId xmlns:a16="http://schemas.microsoft.com/office/drawing/2014/main" id="{1C4C22CF-822D-4D1B-A926-26A82C3CD83E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94" name="TextovéPole 93">
            <a:extLst>
              <a:ext uri="{FF2B5EF4-FFF2-40B4-BE49-F238E27FC236}">
                <a16:creationId xmlns:a16="http://schemas.microsoft.com/office/drawing/2014/main" id="{ED70691A-1C05-4F79-988A-1602A47EBDCE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95" name="Přímá spojnice 94">
            <a:extLst>
              <a:ext uri="{FF2B5EF4-FFF2-40B4-BE49-F238E27FC236}">
                <a16:creationId xmlns:a16="http://schemas.microsoft.com/office/drawing/2014/main" id="{5E7CA262-EC95-4E63-A632-F8F86AD95AD1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96" name="Přímá spojnice 95">
            <a:extLst>
              <a:ext uri="{FF2B5EF4-FFF2-40B4-BE49-F238E27FC236}">
                <a16:creationId xmlns:a16="http://schemas.microsoft.com/office/drawing/2014/main" id="{426C8BE8-DC70-4AC6-A918-19BC3D697066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97" name="TextovéPole 96">
            <a:extLst>
              <a:ext uri="{FF2B5EF4-FFF2-40B4-BE49-F238E27FC236}">
                <a16:creationId xmlns:a16="http://schemas.microsoft.com/office/drawing/2014/main" id="{D38FDB68-01D2-4AB8-96BA-7F066E715C08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98" name="TextovéPole 97">
            <a:extLst>
              <a:ext uri="{FF2B5EF4-FFF2-40B4-BE49-F238E27FC236}">
                <a16:creationId xmlns:a16="http://schemas.microsoft.com/office/drawing/2014/main" id="{823B7866-4273-4323-A0D4-42D9246C80FA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99" name="Přímá spojnice 98">
            <a:extLst>
              <a:ext uri="{FF2B5EF4-FFF2-40B4-BE49-F238E27FC236}">
                <a16:creationId xmlns:a16="http://schemas.microsoft.com/office/drawing/2014/main" id="{77C82351-B780-4C3C-B05B-2E0C96DA4F0C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100" name="TextovéPole 99">
            <a:extLst>
              <a:ext uri="{FF2B5EF4-FFF2-40B4-BE49-F238E27FC236}">
                <a16:creationId xmlns:a16="http://schemas.microsoft.com/office/drawing/2014/main" id="{639EAE62-B99D-4499-878F-78833740001F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382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83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8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60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101" name="TextovéPole 100">
            <a:extLst>
              <a:ext uri="{FF2B5EF4-FFF2-40B4-BE49-F238E27FC236}">
                <a16:creationId xmlns:a16="http://schemas.microsoft.com/office/drawing/2014/main" id="{4875276C-B7FE-4AC5-AA4C-152C263F9985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4D38B950-FD79-48DE-BD3D-F5A930934AB4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E3F87A4-162A-426B-B598-79FB4A30A91D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883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04EFF0C-23FB-42AD-AEDA-D4E2F71D7EAF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72BD359C-46FF-4AE5-B2AC-A55CC70B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0A22C9F-3AA6-457E-A4B4-E3CA746D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F0F55FC0-C606-4D15-BF4E-C2FBB0F7F0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103534"/>
              </p:ext>
            </p:extLst>
          </p:nvPr>
        </p:nvGraphicFramePr>
        <p:xfrm>
          <a:off x="556549" y="1107448"/>
          <a:ext cx="11354940" cy="5856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396DEBCA-8F02-43C3-A911-99A2EDCFB3EE}"/>
              </a:ext>
            </a:extLst>
          </p:cNvPr>
          <p:cNvSpPr txBox="1"/>
          <p:nvPr/>
        </p:nvSpPr>
        <p:spPr>
          <a:xfrm rot="16200000">
            <a:off x="-1254283" y="366852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3AA691C-1082-4835-B251-C20745982F19}"/>
              </a:ext>
            </a:extLst>
          </p:cNvPr>
          <p:cNvSpPr txBox="1"/>
          <p:nvPr/>
        </p:nvSpPr>
        <p:spPr>
          <a:xfrm>
            <a:off x="11599180" y="528136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8FBA8AA3-8600-47F6-805F-2BEB6834F1EB}"/>
              </a:ext>
            </a:extLst>
          </p:cNvPr>
          <p:cNvSpPr txBox="1"/>
          <p:nvPr/>
        </p:nvSpPr>
        <p:spPr>
          <a:xfrm>
            <a:off x="11599181" y="559433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D6E3C7B-810A-4EFD-B252-31378F662F1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C2F3F5EC-FCA8-4E4F-ADC4-5EEDB5A9F81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9BB99046-BC62-4A74-B003-68A0DC45747D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E001D1ED-9D2D-4EDE-8EBA-EF7C54C699D0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8D5B31D5-48C5-4DFA-89C1-45318B6FF2B2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5104306C-39A4-447A-B28C-510D27BC05EB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41A4A32E-F295-45A5-B1F0-71E5A69BE14A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94A9BCFD-7585-4E89-A937-455E1104570D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966F35B9-70C9-47E7-A2BF-21A967F49FE0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544E1153-C1B4-4E6B-B1A3-F8DE6611C4E9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90EE75A-32E7-40A1-AD16-70E45032F967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46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08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8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5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C22CA84E-0B3B-4082-B019-6BB15CD826DA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48813EE-7DAF-4879-A9A3-ED7B4EBFAEF0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086874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álovehrad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FD197E-F2C5-4B7D-B7BD-52FB0F4EF96B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E01F0A6-C4DC-4FF9-9B0D-9C156F25A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30152D4-3604-4139-9F59-BD82B1CBC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BDD8FB6-42C3-4F57-BC47-02A0CD286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7140263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8" name="TextBox 6">
            <a:extLst>
              <a:ext uri="{FF2B5EF4-FFF2-40B4-BE49-F238E27FC236}">
                <a16:creationId xmlns:a16="http://schemas.microsoft.com/office/drawing/2014/main" id="{3BE49261-2B21-48D2-8FAC-FA281B7063D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Obdélník 68">
            <a:extLst>
              <a:ext uri="{FF2B5EF4-FFF2-40B4-BE49-F238E27FC236}">
                <a16:creationId xmlns:a16="http://schemas.microsoft.com/office/drawing/2014/main" id="{B225B96B-F3B8-4EFD-8409-59EE088B16C7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A2CA4CCA-13A5-411F-883F-AC15D2E108AC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71" name="TextovéPole 70">
            <a:extLst>
              <a:ext uri="{FF2B5EF4-FFF2-40B4-BE49-F238E27FC236}">
                <a16:creationId xmlns:a16="http://schemas.microsoft.com/office/drawing/2014/main" id="{0977F230-86DD-4FC1-AC3F-34C1F92BA4A4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72" name="TextovéPole 71">
            <a:extLst>
              <a:ext uri="{FF2B5EF4-FFF2-40B4-BE49-F238E27FC236}">
                <a16:creationId xmlns:a16="http://schemas.microsoft.com/office/drawing/2014/main" id="{92053F97-B63C-45A8-AD42-71878E0ABFB8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73" name="Přímá spojnice se šipkou 72">
            <a:extLst>
              <a:ext uri="{FF2B5EF4-FFF2-40B4-BE49-F238E27FC236}">
                <a16:creationId xmlns:a16="http://schemas.microsoft.com/office/drawing/2014/main" id="{3B0587C8-0CFC-4BE3-83A2-DD44C4698E4A}"/>
              </a:ext>
            </a:extLst>
          </p:cNvPr>
          <p:cNvCxnSpPr>
            <a:cxnSpLocks/>
            <a:stCxn id="70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Přímá spojnice se šipkou 73">
            <a:extLst>
              <a:ext uri="{FF2B5EF4-FFF2-40B4-BE49-F238E27FC236}">
                <a16:creationId xmlns:a16="http://schemas.microsoft.com/office/drawing/2014/main" id="{146020C5-5BBF-4AB2-A35B-84FF56E2EE4C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47EDDA6A-A24D-43FF-A635-B69193AC6AA9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76" name="Přímá spojnice 75">
            <a:extLst>
              <a:ext uri="{FF2B5EF4-FFF2-40B4-BE49-F238E27FC236}">
                <a16:creationId xmlns:a16="http://schemas.microsoft.com/office/drawing/2014/main" id="{B9405886-0BEC-4ED7-B94C-E7B24E7C2809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550BCAFD-495E-4206-83C9-C59117907FD6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78" name="Přímá spojnice 77">
            <a:extLst>
              <a:ext uri="{FF2B5EF4-FFF2-40B4-BE49-F238E27FC236}">
                <a16:creationId xmlns:a16="http://schemas.microsoft.com/office/drawing/2014/main" id="{762B2A36-C59D-471C-96A9-95FCBE99E931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79" name="Přímá spojnice 78">
            <a:extLst>
              <a:ext uri="{FF2B5EF4-FFF2-40B4-BE49-F238E27FC236}">
                <a16:creationId xmlns:a16="http://schemas.microsoft.com/office/drawing/2014/main" id="{06F6A713-34BD-4F90-A62C-92B12E210177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60229885-458D-4BE1-A55D-76DED306294D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81" name="TextovéPole 80">
            <a:extLst>
              <a:ext uri="{FF2B5EF4-FFF2-40B4-BE49-F238E27FC236}">
                <a16:creationId xmlns:a16="http://schemas.microsoft.com/office/drawing/2014/main" id="{21F2B5F0-D14D-4EF6-B609-B459C78BE1BC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82" name="Přímá spojnice 81">
            <a:extLst>
              <a:ext uri="{FF2B5EF4-FFF2-40B4-BE49-F238E27FC236}">
                <a16:creationId xmlns:a16="http://schemas.microsoft.com/office/drawing/2014/main" id="{812B56B5-2093-4E45-A9D5-C292D164585A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4959E029-D4E7-4409-B9BB-EA379902BF94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862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324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19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20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84" name="TextovéPole 83">
            <a:extLst>
              <a:ext uri="{FF2B5EF4-FFF2-40B4-BE49-F238E27FC236}">
                <a16:creationId xmlns:a16="http://schemas.microsoft.com/office/drawing/2014/main" id="{817D725D-EFF0-4CB8-A230-F74896DF2D39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86" name="Obdélník 85">
            <a:extLst>
              <a:ext uri="{FF2B5EF4-FFF2-40B4-BE49-F238E27FC236}">
                <a16:creationId xmlns:a16="http://schemas.microsoft.com/office/drawing/2014/main" id="{07658947-6917-49AF-9343-E2EFD8CF46B4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2D70033-2DC8-42A6-B63D-6F503C45B92F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0937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226E652-89AF-46A8-B871-CBB7F7FF0671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83466CA5-04E0-48E3-992E-6C7EC4F2C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D6B49AF-CC89-4B61-8EA0-3044D43B4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E11C7E6A-76F6-4635-8C39-3298326136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338639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EF14F428-5305-4FF8-85C7-79367A4B150C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052A5299-3729-43ED-826C-08F52712B773}"/>
              </a:ext>
            </a:extLst>
          </p:cNvPr>
          <p:cNvSpPr txBox="1"/>
          <p:nvPr/>
        </p:nvSpPr>
        <p:spPr>
          <a:xfrm>
            <a:off x="11581268" y="515916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096E2C6D-D5FF-40AE-853F-7EDB5942F0EC}"/>
              </a:ext>
            </a:extLst>
          </p:cNvPr>
          <p:cNvSpPr txBox="1"/>
          <p:nvPr/>
        </p:nvSpPr>
        <p:spPr>
          <a:xfrm>
            <a:off x="11581268" y="545266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CA3F5BF2-37F0-4A49-BA51-11FB893EDDB7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683AF045-EDB5-46A9-9E4B-09B39257E6EB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CB3CA071-B442-4C49-96C9-CAC00C313124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3ABEB52-6711-4278-920F-B20C18DEC41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C106C1A-3668-4B01-9BBD-EF4D7814FCA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FE3E7D66-ACC8-4C50-8B30-2119B236E7CA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EAD754F6-BB75-4D7E-941D-0A6B07ABC29D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C7ED1938-615A-474C-AB49-673B46DD6228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E6DCFA4F-D2AB-42C4-9E84-DB8EB428498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2450B183-AC08-407A-832B-B9ECD8C019EE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71F2B25-3F20-4DBB-A4B3-F079F3C507F3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58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17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84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9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773BE646-9B72-47FC-8B8D-9BA3E7D0F63B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FFD63EA9-3368-4008-AB04-4DCD8F5BCDD8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086361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Pardubi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D933C75-0B2E-45EA-B755-81A1E6641817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EF69E19-EE3C-4047-A2AC-1A0D5D72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6185778-910C-4229-A69C-9D28E2309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217BEEF9-B63A-45BA-B16A-80913AB157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582544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67EA374E-F851-46A0-97CB-241A866DBB7D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37AF710C-A575-49F6-B41F-A094EF8A8946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4B40D6C-6D71-4713-8773-B07926F3CECE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C928939A-8401-42FA-94F7-D4669CE5A87B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E70D807-C8BF-4E90-BEDE-E74897D1D6EE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AF5F1B6-DF44-4A03-8AFD-EAF6E6D6D57A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BEE1BBA9-DD4F-4E9C-9620-70A56D84D40D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A30155D-A2EC-41EB-A9C2-118731625ECE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DD810848-C634-4ED8-93F2-C94B42CFEAA7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88A9D96C-A6A5-4DC7-9009-6BCD23AD9D68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61F8E78-80A1-462A-B988-0BE9B5E61EB6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E4B22DF-1A64-47D9-B84E-7C28FB73E0AC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F8241C3E-97F5-412F-8036-7FC87015C0A1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6FED0686-0B21-45A8-B1DB-93574ED683A3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9F23FE91-50FA-43E2-AE1F-A03B0142E5F4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BFFB561A-C639-47DE-AE9B-77DA3327994A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73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94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351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1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2FDD1E9C-BB47-4397-B3B9-0478EDECF720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330235A0-4355-40C4-9558-CA049A4EA7C4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F5A2F9-1B1D-4EA2-B599-D7CE5B682F04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290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F377A2F-C0A0-43DA-9280-A19B6E371AAC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96CE1EA5-E85C-4BA1-A52A-9C4BEA2AE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92DB6C9-71F1-4520-8565-7AC5680D0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2738ECA-1575-4A74-98C0-08768BA57C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9426081"/>
              </p:ext>
            </p:extLst>
          </p:nvPr>
        </p:nvGraphicFramePr>
        <p:xfrm>
          <a:off x="556549" y="1245252"/>
          <a:ext cx="11354940" cy="571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2C37561-D852-438F-BDBC-ECAC3B295F08}"/>
              </a:ext>
            </a:extLst>
          </p:cNvPr>
          <p:cNvSpPr txBox="1"/>
          <p:nvPr/>
        </p:nvSpPr>
        <p:spPr>
          <a:xfrm rot="16200000">
            <a:off x="-1483263" y="373797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FED545D-D2B6-4096-A040-75D6513AE399}"/>
              </a:ext>
            </a:extLst>
          </p:cNvPr>
          <p:cNvSpPr txBox="1"/>
          <p:nvPr/>
        </p:nvSpPr>
        <p:spPr>
          <a:xfrm>
            <a:off x="11590672" y="542120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10AA5AAA-33EA-44C1-9F56-BBE35D5B4D3C}"/>
              </a:ext>
            </a:extLst>
          </p:cNvPr>
          <p:cNvSpPr txBox="1"/>
          <p:nvPr/>
        </p:nvSpPr>
        <p:spPr>
          <a:xfrm>
            <a:off x="11599939" y="569384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AA3A277-8DA5-4AA3-B41B-E2AF8A4A584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017D3F7-0454-4E8A-979A-EBCA6C08427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2ED2A71-1192-41D3-B433-A0945D89FB43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B21C58B-35E8-43F0-8DD7-7AC5B04E02DD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40928D87-B65E-4B1D-A3A1-85DB694C5000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1415C9AA-5887-439B-A6C7-18CFD1A57CF3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6CA46161-5E18-4B8A-9904-93CE38E3E55C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150A2E2E-36E8-4180-9FA8-657ECF782A78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32241F0F-EA0D-4514-88D8-C7386F1C9567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2EA0865E-C06C-4BF9-A53A-E61EC2EAD70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055F06E4-063C-4EFD-BDAB-5539BC5D0B58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45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81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3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2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623938E-59A4-43AC-BACC-57E86555C984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6E026B1-4B5E-4658-B61E-E5B1290EA607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212270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aj Vysočina</a:t>
            </a:r>
            <a:endParaRPr lang="cs-CZ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2642BDA-1FDB-47A2-98F0-CA96CB016C7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661A478B-313E-4DF4-805B-E2DD7B1A7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B01192-C0C6-43BD-A9B4-27A4329DA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57E97467-751F-4A4D-B0BC-D83F0C23E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07577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8F5A649B-696B-4911-8C85-1373DBA74F7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1290153C-08C0-4800-8266-587642012F7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4F3DB32-BC40-4DD9-B70A-F3651FCA39F8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ED82C667-E91D-4220-BC85-3D16569BB8CF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E8C5E5B-D86B-4897-A7B4-BD6AE917AE63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08BC0FC2-1F42-449F-9380-BB6748932689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8CE21E9F-9950-4945-A478-62AB8B0D6096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83FECE37-B361-4E95-ABB2-24B1A7951C25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316FFD6D-DD11-4921-8FE7-21717F1C2B7F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87DE3A05-EF89-45EE-BCE9-2D3EED1E81B3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859DCE8D-D8CF-4E1C-906F-F8670ABC3BE9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722705C2-9998-42C5-AEBC-0E72D71065E0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ABD79A1-1005-4430-9484-16200D5D4FF3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2B4083F0-16D3-4EB4-8F70-E12777E2A456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9417BA43-6879-4663-BE00-18F5BEC2932C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AFC0F37-AC8A-4578-B12F-C2D44E34659F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 070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472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022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8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7B468997-0F24-42B2-B5BC-47AC73C29CBD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62017A74-1831-4AE9-B7A3-5B02AC4CFC3F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8334EF6-9FD1-4146-A1AF-D02D7096561F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2011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C53EB4-047F-4BDD-9F41-C7898B74C22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76E9F58-02CD-47B0-ACBE-3019FA90C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F5A6C2A-6C78-4598-A1BB-FA9E298C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05DE481-3169-4194-9086-AF1D559392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311311"/>
              </p:ext>
            </p:extLst>
          </p:nvPr>
        </p:nvGraphicFramePr>
        <p:xfrm>
          <a:off x="556549" y="1320754"/>
          <a:ext cx="11354940" cy="560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C4E932E-28C4-4B88-A459-14EFF72D3F25}"/>
              </a:ext>
            </a:extLst>
          </p:cNvPr>
          <p:cNvSpPr txBox="1"/>
          <p:nvPr/>
        </p:nvSpPr>
        <p:spPr>
          <a:xfrm rot="16200000">
            <a:off x="-1483263" y="3813479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3383955C-7217-464B-9FEF-96AD29757FC2}"/>
              </a:ext>
            </a:extLst>
          </p:cNvPr>
          <p:cNvSpPr txBox="1"/>
          <p:nvPr/>
        </p:nvSpPr>
        <p:spPr>
          <a:xfrm>
            <a:off x="11587374" y="530487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532473DE-70DE-4D27-A790-29DB4A0C5A9C}"/>
              </a:ext>
            </a:extLst>
          </p:cNvPr>
          <p:cNvSpPr txBox="1"/>
          <p:nvPr/>
        </p:nvSpPr>
        <p:spPr>
          <a:xfrm>
            <a:off x="11587374" y="559351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3DEB57F-C27F-423C-9ACF-D302C44EE17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FA7905D-D936-4ACD-9AC7-AAEC38AF7249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48947B11-C93D-45EA-8AB4-2B9B3D71F3B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9599B4A4-389D-4FD0-BF2F-6838DF0A3DC5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455D277B-9AA0-49B6-BF54-B3CEAD77AE7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CA6D0089-FCE4-4367-BC08-7955B9A4BF3F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D5E3FD9F-E6F1-4598-98C1-E8D995BB0EEE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18A87127-9F47-4926-853B-D9F6782C9BC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EA31B99A-B382-4986-8487-A631BA9611E0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485F8D42-4E1A-43C3-B89C-3FE880687AF7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73FA14ED-48F1-4E46-8B32-8210EABD3D6D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90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41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02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20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F3D27B4-8030-423B-9866-59A509012135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BD712D4-4A1E-4C90-B969-F4195927E19A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739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moravský kraj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7CA754DC-A822-422C-92D5-2A3B36E4E5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E9B7F32-66AA-4E74-802C-D5BF6EA379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1532316"/>
              </p:ext>
            </p:extLst>
          </p:nvPr>
        </p:nvGraphicFramePr>
        <p:xfrm>
          <a:off x="556549" y="3433177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6">
            <a:extLst>
              <a:ext uri="{FF2B5EF4-FFF2-40B4-BE49-F238E27FC236}">
                <a16:creationId xmlns:a16="http://schemas.microsoft.com/office/drawing/2014/main" id="{19CFDA2A-25FF-4D5E-AD5A-F7923135314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A3132DB7-6028-47F2-BCAB-F644AB7E583A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F261DEBA-C8A0-4F16-A8B2-3B14D7560E44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131AFEC-52A2-44AA-A3D8-A2A488673F6A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0F46833-5D45-4D21-A7E0-9CC4CD26D98A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4" name="Přímá spojnice se šipkou 33">
            <a:extLst>
              <a:ext uri="{FF2B5EF4-FFF2-40B4-BE49-F238E27FC236}">
                <a16:creationId xmlns:a16="http://schemas.microsoft.com/office/drawing/2014/main" id="{F257D127-CA60-4FEE-A694-BCF7D13C4C58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02FBA2C2-EC17-4FDC-8CF6-6BE3B2E6C7D6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C2EA9032-5076-4E17-9009-90EE6486EF8C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280F265B-CC82-4C1E-880C-D0CF263EA2D8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EFDE9B68-1006-4CE0-A619-119D51D3BA14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4D28EA8-7E21-4FF7-BA48-C338672F3D6B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FE5A0FB9-B83D-4FA8-9FA2-FBB8C98C45E0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E18118B5-69F6-4642-93A9-EB5FC4A9F110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58117BC4-C062-4D19-A95D-6DE8865AFCBF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E6EBF6EB-4454-4933-862B-C61C7A3BC22A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C4439FE2-1153-4321-B2E3-2E1F945D998C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 67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 171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 28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88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DC3DAB94-6C87-4D79-8F95-252DB040912D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61" name="Obdélník 60">
            <a:extLst>
              <a:ext uri="{FF2B5EF4-FFF2-40B4-BE49-F238E27FC236}">
                <a16:creationId xmlns:a16="http://schemas.microsoft.com/office/drawing/2014/main" id="{D2FD05F0-8D91-4222-AF23-EE44D7636FD2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12C3542-2749-40D3-875F-2BFC9E7E9B44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2469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24EC32A6-65D3-4A94-BD8B-77F272E735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28361F55-F8A1-49FB-A18A-7C1B538BBC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9374497"/>
              </p:ext>
            </p:extLst>
          </p:nvPr>
        </p:nvGraphicFramePr>
        <p:xfrm>
          <a:off x="556549" y="1329143"/>
          <a:ext cx="11354940" cy="5528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2" name="TextBox 6">
            <a:extLst>
              <a:ext uri="{FF2B5EF4-FFF2-40B4-BE49-F238E27FC236}">
                <a16:creationId xmlns:a16="http://schemas.microsoft.com/office/drawing/2014/main" id="{FBAB8508-4B4A-4086-A6CC-235293A47FBA}"/>
              </a:ext>
            </a:extLst>
          </p:cNvPr>
          <p:cNvSpPr txBox="1"/>
          <p:nvPr/>
        </p:nvSpPr>
        <p:spPr>
          <a:xfrm rot="16200000">
            <a:off x="-1483263" y="382186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30374619-248F-4A41-973E-D6EE172F9C0A}"/>
              </a:ext>
            </a:extLst>
          </p:cNvPr>
          <p:cNvSpPr txBox="1"/>
          <p:nvPr/>
        </p:nvSpPr>
        <p:spPr>
          <a:xfrm>
            <a:off x="11595023" y="518966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0D77A5D0-30DB-4CB3-892C-0A4BB92677BC}"/>
              </a:ext>
            </a:extLst>
          </p:cNvPr>
          <p:cNvSpPr txBox="1"/>
          <p:nvPr/>
        </p:nvSpPr>
        <p:spPr>
          <a:xfrm>
            <a:off x="11595024" y="551395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862B181-69F9-4571-BBBD-AFC4ABC23E7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8480EAE-E261-4614-83E5-0C0718FDEF1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761D683E-C66A-4D96-BEF4-CCFF20910550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F707297-D534-4F51-8DD0-245A71F289A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F0704C8-7430-4292-92BA-FCD345E0C3B1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F9EAFD2-6A61-402F-9AA2-A856C675A890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826158E4-6B9B-46B6-B0D0-22AE3F7DE9E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22FBA158-49C1-488D-BD8E-45D261AACC9D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868CBEEB-037A-489A-9298-4DEC07BCF9E3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A12C3CD9-B7A5-4FAB-A2D3-0DBF514479C6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6BF3817D-AB67-4D46-802F-2E2A88CEF71A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3 40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51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82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B050"/>
                </a:solidFill>
                <a:latin typeface="Calibri" panose="020F0502020204030204" pitchFamily="34" charset="0"/>
              </a:rPr>
              <a:t>1 28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3602980E-A189-4BE6-8F42-4760AEE6E756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B36389A-E351-4C0E-8B54-289D41738F25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871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jekce krátkodobých modelů SIR </a:t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vývoj epidemie v listopad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126" y="1533113"/>
            <a:ext cx="7742870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V návaznosti na novou kalibraci modelu 12. 11. byly připraveny nové krátkodobé projekce vývoje*</a:t>
            </a:r>
          </a:p>
          <a:p>
            <a:r>
              <a:rPr lang="cs-CZ" sz="1800" b="1" dirty="0">
                <a:solidFill>
                  <a:srgbClr val="00B050"/>
                </a:solidFill>
              </a:rPr>
              <a:t>Scénář A (scénář pomalého růstu; předpokládané R = 1,10)</a:t>
            </a:r>
          </a:p>
          <a:p>
            <a:pPr lvl="1"/>
            <a:r>
              <a:rPr lang="cs-CZ" sz="1600" dirty="0"/>
              <a:t>zřetelné 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středního růstu; předpokládané R = 1,20)</a:t>
            </a:r>
          </a:p>
          <a:p>
            <a:pPr lvl="1"/>
            <a:r>
              <a:rPr lang="cs-CZ" sz="1600" dirty="0"/>
              <a:t>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rychlého růstu, předpokládané R = 1,30)</a:t>
            </a:r>
          </a:p>
          <a:p>
            <a:pPr lvl="1"/>
            <a:r>
              <a:rPr lang="cs-CZ" sz="1600" dirty="0"/>
              <a:t>pokračující růst, nedostatečná kolektivní imunita, vakcinace významně v čase nepostupuje a projevuje se schopnost viru částečně prolomit vakcinaci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scénář velmi rychlého růstu, předpokládané R = 1,40)</a:t>
            </a:r>
          </a:p>
          <a:p>
            <a:pPr lvl="1"/>
            <a:r>
              <a:rPr lang="cs-CZ" sz="1600" dirty="0"/>
              <a:t>odpovídá aktuální hodnotě reprodukčního čísla</a:t>
            </a:r>
          </a:p>
          <a:p>
            <a:pPr lvl="1"/>
            <a:r>
              <a:rPr lang="cs-CZ" sz="1600" dirty="0"/>
              <a:t>vysoký počet rizikových kontaktů, nedostatečná kolektivní imunita, vakcinace významně v čase nepostupuje a projevuje se schopnost viru částečně prolomit vakcinaci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6201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ojekce odpovídají kalibraci reprodukčního čísla epidemiologickým modelem pro krátkodobé predikce ÚZIS ČR v segmentu od 4</a:t>
            </a: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.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11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3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2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5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62246AC-1146-4076-847F-695D29DD53B0}"/>
              </a:ext>
            </a:extLst>
          </p:cNvPr>
          <p:cNvSpPr txBox="1"/>
          <p:nvPr/>
        </p:nvSpPr>
        <p:spPr>
          <a:xfrm>
            <a:off x="8096921" y="1717902"/>
            <a:ext cx="3752487" cy="36933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Projekce vychází z reálných dat a trendů posledních cca tří týdnů a ukazují možný vývoj při dané hodnotě R a při zachování objemu a struktury prováděných testů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777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Olomouc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37B5CA-7ABB-4CAC-8917-2464D7474930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67231B6-229F-40B5-B88A-FFD124DE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2AC0F59-F4CD-4492-ADFE-D4AAAD6B6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8CCBB09F-B8CB-457E-873F-1EA18F8F1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937960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4797BC73-EE14-4CEE-8798-64BFF2ED15F4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04AF127F-7586-4A38-A022-486373D0C717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640FA36-F4BA-4D2C-BE80-3CA36DD5A0C6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F7C9E24-024B-4FD9-885B-1BB0DE616C49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E62AEE5-FAE7-4F35-AFB6-619FA383D043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A4740947-B746-46DA-A471-7A603A793CCE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75F77F8C-3361-45C4-9F03-972832B59141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7D89A65-51CF-45DB-8736-7A15A1B1A56A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464DE70-EBDF-4181-BA65-B812ED7CF2E2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C43F8EA-BF9D-4B86-9654-55668EE87F4B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0655EB32-2F78-4D2F-B472-43501A6D6AA0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943C31C9-9553-4DAF-B769-2C769255FF54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3254F9C5-E92C-4A77-9C10-14AD5C462620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A8CB0600-A095-4C48-873B-5153EAA4030C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7D3BBD82-1C02-48C3-9A8D-3E53C7042359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8C14FCD1-5B50-46D6-A509-9F35491CAA09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 515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 923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 72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83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94D5C61-94E5-4631-91D8-13E396812647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8F25539E-01C9-4F26-90F3-9EB82E5752EE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D96FC31-2DFF-418F-AF3A-1BB13C6383C5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7010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AAEC9C-9787-42E1-8FA6-6339E87A1247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091EF52-9329-4CE6-B7B2-34AAEE628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D6B9575F-24DE-4CAD-B5A2-0750DA68E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B8EBB15-CC75-4B3F-8CC8-B51E906658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3789544"/>
              </p:ext>
            </p:extLst>
          </p:nvPr>
        </p:nvGraphicFramePr>
        <p:xfrm>
          <a:off x="556549" y="1161363"/>
          <a:ext cx="11354940" cy="569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B321D5A-49D2-455B-BEE8-969A4E2FBE3B}"/>
              </a:ext>
            </a:extLst>
          </p:cNvPr>
          <p:cNvSpPr txBox="1"/>
          <p:nvPr/>
        </p:nvSpPr>
        <p:spPr>
          <a:xfrm rot="16200000">
            <a:off x="-1483263" y="365408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F69147F-910E-4428-AD52-9D2F2CEF0DBD}"/>
              </a:ext>
            </a:extLst>
          </p:cNvPr>
          <p:cNvSpPr txBox="1"/>
          <p:nvPr/>
        </p:nvSpPr>
        <p:spPr>
          <a:xfrm>
            <a:off x="11600404" y="523652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AAA79C2D-7BC3-4C0C-82C1-AABCBC59E385}"/>
              </a:ext>
            </a:extLst>
          </p:cNvPr>
          <p:cNvSpPr txBox="1"/>
          <p:nvPr/>
        </p:nvSpPr>
        <p:spPr>
          <a:xfrm>
            <a:off x="11620312" y="555140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FB8F60B-F915-4855-A1C2-13E6BA64177E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471B3A4-202E-410C-BC55-00AF5A24949C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BE8E7D09-330C-4E51-91BF-8B7733EE3477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38D41DC8-9994-4EF7-9847-C15074AEADEF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6DBFA55E-8EE8-49C7-8D5C-261BEDBC3A11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6A622A99-DA91-42AE-977E-07D5C0DC39E9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60CD90F6-8DEE-4DC3-8B90-176A40B26127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D1B5F37C-A898-4B37-BA9C-5B327B38D363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5039CABF-14DC-409B-9D55-97DEBF7AD8C3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B21A32EA-397B-412D-82C9-D27BDEF42828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15888A9D-0FF5-4AB9-AFEB-F81972A5AC0F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4 10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3 0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2 19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B050"/>
                </a:solidFill>
                <a:latin typeface="Calibri" panose="020F0502020204030204" pitchFamily="34" charset="0"/>
              </a:rPr>
              <a:t>1 54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33FBDA0-39FB-4151-B862-8A5B08FD0F0C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854F432-44C5-475D-94D5-C4C22236035E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033614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Zlín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E210122-DB31-48AA-8AC8-EFFE3245B4F9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C333EC3-C379-4CD6-9480-FAECD12AA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8E2DB84-5B2F-489B-85AC-0F5E2D56F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AF49646-B7A3-4163-9CF0-F50DA809B5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028357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8" name="TextBox 6">
            <a:extLst>
              <a:ext uri="{FF2B5EF4-FFF2-40B4-BE49-F238E27FC236}">
                <a16:creationId xmlns:a16="http://schemas.microsoft.com/office/drawing/2014/main" id="{7830B1C4-339C-4648-A3FF-D1D2362811C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Obdélník 68">
            <a:extLst>
              <a:ext uri="{FF2B5EF4-FFF2-40B4-BE49-F238E27FC236}">
                <a16:creationId xmlns:a16="http://schemas.microsoft.com/office/drawing/2014/main" id="{C5A40796-AC0E-4171-ABA3-85ED9A665903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CA43BF06-EEBD-46DA-831F-40801D212256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71" name="TextovéPole 70">
            <a:extLst>
              <a:ext uri="{FF2B5EF4-FFF2-40B4-BE49-F238E27FC236}">
                <a16:creationId xmlns:a16="http://schemas.microsoft.com/office/drawing/2014/main" id="{792DFD85-AD6E-422C-A242-6106DE337EB5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72" name="TextovéPole 71">
            <a:extLst>
              <a:ext uri="{FF2B5EF4-FFF2-40B4-BE49-F238E27FC236}">
                <a16:creationId xmlns:a16="http://schemas.microsoft.com/office/drawing/2014/main" id="{75E1BB5B-9EB3-423C-BB54-CE45B56C992C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73" name="Přímá spojnice se šipkou 72">
            <a:extLst>
              <a:ext uri="{FF2B5EF4-FFF2-40B4-BE49-F238E27FC236}">
                <a16:creationId xmlns:a16="http://schemas.microsoft.com/office/drawing/2014/main" id="{8AB1DA91-2CBE-4242-98CB-6257D1B85222}"/>
              </a:ext>
            </a:extLst>
          </p:cNvPr>
          <p:cNvCxnSpPr>
            <a:cxnSpLocks/>
            <a:stCxn id="70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Přímá spojnice se šipkou 73">
            <a:extLst>
              <a:ext uri="{FF2B5EF4-FFF2-40B4-BE49-F238E27FC236}">
                <a16:creationId xmlns:a16="http://schemas.microsoft.com/office/drawing/2014/main" id="{88DFF802-0A67-4301-AAB4-FD6726B56EF8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A6495469-C6F0-4B92-A12D-07813A9237A3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76" name="Přímá spojnice 75">
            <a:extLst>
              <a:ext uri="{FF2B5EF4-FFF2-40B4-BE49-F238E27FC236}">
                <a16:creationId xmlns:a16="http://schemas.microsoft.com/office/drawing/2014/main" id="{8F4FBDF5-E9E9-4B98-99FA-FDE58FB9ACF1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631238F5-952A-4B13-A52A-E0EA0E97BB5F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78" name="Přímá spojnice 77">
            <a:extLst>
              <a:ext uri="{FF2B5EF4-FFF2-40B4-BE49-F238E27FC236}">
                <a16:creationId xmlns:a16="http://schemas.microsoft.com/office/drawing/2014/main" id="{7F2CF107-DB32-4D70-A6D1-D5431B0D8A04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79" name="Přímá spojnice 78">
            <a:extLst>
              <a:ext uri="{FF2B5EF4-FFF2-40B4-BE49-F238E27FC236}">
                <a16:creationId xmlns:a16="http://schemas.microsoft.com/office/drawing/2014/main" id="{9B114D6E-DD2D-4F5E-88E0-6B7F4FB0B549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20B1A993-FAAE-47B4-8132-1C7DC5A8FBFC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81" name="TextovéPole 80">
            <a:extLst>
              <a:ext uri="{FF2B5EF4-FFF2-40B4-BE49-F238E27FC236}">
                <a16:creationId xmlns:a16="http://schemas.microsoft.com/office/drawing/2014/main" id="{2C840CF9-BF1D-4D9B-8E6C-022C9EF553E5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82" name="Přímá spojnice 81">
            <a:extLst>
              <a:ext uri="{FF2B5EF4-FFF2-40B4-BE49-F238E27FC236}">
                <a16:creationId xmlns:a16="http://schemas.microsoft.com/office/drawing/2014/main" id="{FF3E8120-5C83-436D-8552-BD004446DA90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C50FA80E-394F-46BD-BC3F-CC886588B0D2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748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66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850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248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84" name="TextovéPole 83">
            <a:extLst>
              <a:ext uri="{FF2B5EF4-FFF2-40B4-BE49-F238E27FC236}">
                <a16:creationId xmlns:a16="http://schemas.microsoft.com/office/drawing/2014/main" id="{4F1E6D18-FD61-42C3-82DA-C2C5FCA444EE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86" name="Obdélník 85">
            <a:extLst>
              <a:ext uri="{FF2B5EF4-FFF2-40B4-BE49-F238E27FC236}">
                <a16:creationId xmlns:a16="http://schemas.microsoft.com/office/drawing/2014/main" id="{A04BBC39-ABFE-4505-B238-9E03111EEB34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C909C02-8D14-4199-847F-5B8B278605BD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9690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BBEF440-9B73-4678-85E1-C7EA118090D8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EC49A19-88DC-4B7C-9826-5AF41E51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E485FB9-C538-4482-A44B-56C3E56E7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091E9871-321F-4599-8D36-5B7F507F45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4111221"/>
              </p:ext>
            </p:extLst>
          </p:nvPr>
        </p:nvGraphicFramePr>
        <p:xfrm>
          <a:off x="556549" y="1379477"/>
          <a:ext cx="11354940" cy="5478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DB2CB1B4-5425-4408-BE99-BF8E18F3FC13}"/>
              </a:ext>
            </a:extLst>
          </p:cNvPr>
          <p:cNvSpPr txBox="1"/>
          <p:nvPr/>
        </p:nvSpPr>
        <p:spPr>
          <a:xfrm rot="16200000">
            <a:off x="-1263868" y="3866092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CBEA7757-5875-4A54-80B2-A563C4A610A4}"/>
              </a:ext>
            </a:extLst>
          </p:cNvPr>
          <p:cNvSpPr txBox="1"/>
          <p:nvPr/>
        </p:nvSpPr>
        <p:spPr>
          <a:xfrm>
            <a:off x="11614458" y="516056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2DA1F8C7-012F-49D0-888B-361A41EF5969}"/>
              </a:ext>
            </a:extLst>
          </p:cNvPr>
          <p:cNvSpPr txBox="1"/>
          <p:nvPr/>
        </p:nvSpPr>
        <p:spPr>
          <a:xfrm>
            <a:off x="11614457" y="553492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39F0D7-4997-4CA9-8D1E-54B0FCC949A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F8877051-611A-4957-8CB1-07DBB1301E0C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029BDD85-2226-4BE2-9F68-D374FCE71E2A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25F6DA2-5F6B-456E-8FAE-201EDEE828B8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2412C8B1-3286-4E6F-8328-FD14BAD1C29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16A79E92-022E-430F-BD35-3DD7957162E6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8C775ACC-0464-4711-A2DD-C34A6C4644D3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BF2213BD-55CC-407D-9071-8CB3666CCAAA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4D54E172-8E48-4EA6-9D23-48DEA5E6341A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1EBCEF44-626F-4E20-8230-6C73CD06104F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EE2B0634-0D34-4F3B-A83A-EF525B933AAE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3 0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23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62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B050"/>
                </a:solidFill>
                <a:latin typeface="Calibri" panose="020F0502020204030204" pitchFamily="34" charset="0"/>
              </a:rPr>
              <a:t>1 14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1A31B6E5-55BC-49E2-9ADC-3A9851E797A4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A802599-EE2B-4080-9B0F-838A90E354D4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30644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Moravskoslezský kraj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7A8D6D5-2BE1-4709-A9F9-AAD5E93A3096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BE316EE1-BD8B-434D-B8A6-41151101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2" name="Picture 2" descr="logo MoravskoslezskÃ½ kraj">
              <a:extLst>
                <a:ext uri="{FF2B5EF4-FFF2-40B4-BE49-F238E27FC236}">
                  <a16:creationId xmlns:a16="http://schemas.microsoft.com/office/drawing/2014/main" id="{6820DBB1-4D8C-45BE-990C-77BAF3B77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198C4D8-80C4-4908-94E3-3C203BB35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31332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TextBox 6">
            <a:extLst>
              <a:ext uri="{FF2B5EF4-FFF2-40B4-BE49-F238E27FC236}">
                <a16:creationId xmlns:a16="http://schemas.microsoft.com/office/drawing/2014/main" id="{96653E44-F26A-47FB-B14F-B726E055ADF1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EFBC3961-9997-49D3-9E2A-71C51DD41A24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250345E6-7088-455B-83D7-CFBC2A278D3B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2F1CB93-2C5D-47EF-8677-C2ADC5778536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D92DE98-19F6-4F19-9E3C-E583079939F4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C18FB6F5-C4AD-4879-9611-D95BC9C788EE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Přímá spojnice se šipkou 37">
            <a:extLst>
              <a:ext uri="{FF2B5EF4-FFF2-40B4-BE49-F238E27FC236}">
                <a16:creationId xmlns:a16="http://schemas.microsoft.com/office/drawing/2014/main" id="{DBC095B0-EC4D-4319-AF1B-0AE773FDCFC8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C0BCE3E-A45F-4D60-948C-4685E739E722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4F452720-A065-4D7F-88E3-8E2F002D6D01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D943E959-0F50-44E4-BC47-BEE37E00368D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131EB5E7-75FA-423D-BFB3-CB0D4766A7DF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43" name="Přímá spojnice 42">
            <a:extLst>
              <a:ext uri="{FF2B5EF4-FFF2-40B4-BE49-F238E27FC236}">
                <a16:creationId xmlns:a16="http://schemas.microsoft.com/office/drawing/2014/main" id="{06F9CB49-BB56-43A1-9ED0-83E3D248D945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1FD70918-F0B3-4E0D-BD4D-C1456E4CD656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00C9CC3B-E669-4226-8AD4-5EBD6C57887E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121BE61F-01BB-49FB-B95F-E1A01EBBE209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6DCD1733-D151-490A-B93A-503B88A30A08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 110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5 769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 00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70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D488DFFD-A510-4699-8044-9D3A3A738D87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65" name="Obdélník 64">
            <a:extLst>
              <a:ext uri="{FF2B5EF4-FFF2-40B4-BE49-F238E27FC236}">
                <a16:creationId xmlns:a16="http://schemas.microsoft.com/office/drawing/2014/main" id="{F15C8A33-5C3A-430A-9572-4A9C7DCF4761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239EED6-609A-4779-9755-F17A89F878E6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46777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B28575-B676-4AB3-A35F-2AF5E956246F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7DCF597-4193-4B75-86AF-8804BFB38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4" name="Picture 2" descr="logo MoravskoslezskÃ½ kraj">
              <a:extLst>
                <a:ext uri="{FF2B5EF4-FFF2-40B4-BE49-F238E27FC236}">
                  <a16:creationId xmlns:a16="http://schemas.microsoft.com/office/drawing/2014/main" id="{A6DD4F8C-022B-4E6A-A279-442EC18AA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C9E63093-5C55-4DC2-AB2F-BA3E20289B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6642642"/>
              </p:ext>
            </p:extLst>
          </p:nvPr>
        </p:nvGraphicFramePr>
        <p:xfrm>
          <a:off x="556549" y="1345921"/>
          <a:ext cx="11354940" cy="557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F6ACBF8E-7576-490C-A9BF-C03DB1049512}"/>
              </a:ext>
            </a:extLst>
          </p:cNvPr>
          <p:cNvSpPr txBox="1"/>
          <p:nvPr/>
        </p:nvSpPr>
        <p:spPr>
          <a:xfrm rot="16200000">
            <a:off x="-1483263" y="383864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60EECC08-D359-4E45-94BA-DD52F3A693F1}"/>
              </a:ext>
            </a:extLst>
          </p:cNvPr>
          <p:cNvSpPr txBox="1"/>
          <p:nvPr/>
        </p:nvSpPr>
        <p:spPr>
          <a:xfrm>
            <a:off x="11581780" y="524010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C6646942-7567-46AD-8B53-AEE676889AAC}"/>
              </a:ext>
            </a:extLst>
          </p:cNvPr>
          <p:cNvSpPr txBox="1"/>
          <p:nvPr/>
        </p:nvSpPr>
        <p:spPr>
          <a:xfrm>
            <a:off x="11581780" y="55626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019607-6E54-42E2-A349-E70B3DF58A8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E1156D3-C58C-48A4-B289-3C8DE6FFC6AF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874AA8EE-6294-461F-BAB4-C49BA270DD35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04B79D39-3AAF-434A-9708-0D01C9E666D0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0B7169AF-5D24-4E60-8178-E3E3B4DF40F2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3" name="Přímá spojnice 42">
            <a:extLst>
              <a:ext uri="{FF2B5EF4-FFF2-40B4-BE49-F238E27FC236}">
                <a16:creationId xmlns:a16="http://schemas.microsoft.com/office/drawing/2014/main" id="{E95A672F-0E2A-4837-A645-355DE5C32AE6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1ABBDC62-BF4E-49B3-9C18-417162AA8D8A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F33D40CA-6B91-44ED-98FA-EE6EA6D6F9C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37121003-95BA-4E55-BAEE-CED22B4D5474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658BD8DF-7691-4D3E-A4F9-47654D764E24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A2EF2526-DBDF-4C58-8359-E8B8EDD56246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3 19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2 35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70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B050"/>
                </a:solidFill>
                <a:latin typeface="Calibri" panose="020F0502020204030204" pitchFamily="34" charset="0"/>
              </a:rPr>
              <a:t>1 20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5A56129B-F79C-48ED-9D75-7CF8A4FD58B3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D1D3312-93DA-41D0-A7A6-C78DF8E212DB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Data z IS IN 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pl-PL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4181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27" y="2"/>
            <a:ext cx="11650316" cy="576000"/>
          </a:xfrm>
        </p:spPr>
        <p:txBody>
          <a:bodyPr/>
          <a:lstStyle/>
          <a:p>
            <a:r>
              <a:rPr lang="cs-CZ" sz="2400" dirty="0"/>
              <a:t>Krátkodobá projekce modelů SIR dle hodnoty efektivního reprodukčního čísla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4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1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07773" y="4633294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526655" y="522334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823835" y="5171538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F058705-E099-4F5E-B598-06B4E55917DD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8 583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1 669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8 919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 509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2459DD16-28CB-4A95-A8DA-390A11D753DB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A673CC3-894D-4484-97BE-A0AE72E291D9}"/>
              </a:ext>
            </a:extLst>
          </p:cNvPr>
          <p:cNvSpPr txBox="1"/>
          <p:nvPr/>
        </p:nvSpPr>
        <p:spPr>
          <a:xfrm>
            <a:off x="1356286" y="3876651"/>
            <a:ext cx="7560649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a zachování objemu testů existuje potenciál k překročení hranice 19 000 nových případů </a:t>
            </a:r>
            <a:r>
              <a:rPr kumimoji="0" lang="cs-CZ" sz="16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ě denně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37A8301-F7B1-417D-B84D-D9D749827B00}"/>
              </a:ext>
            </a:extLst>
          </p:cNvPr>
          <p:cNvCxnSpPr>
            <a:cxnSpLocks/>
          </p:cNvCxnSpPr>
          <p:nvPr/>
        </p:nvCxnSpPr>
        <p:spPr>
          <a:xfrm flipH="1">
            <a:off x="1304678" y="4525150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93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676896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ům z 12. 11. 2021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12. 11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99" y="2574"/>
            <a:ext cx="11757523" cy="576000"/>
          </a:xfrm>
        </p:spPr>
        <p:txBody>
          <a:bodyPr/>
          <a:lstStyle/>
          <a:p>
            <a:r>
              <a:rPr lang="cs-CZ" sz="2400" dirty="0" err="1"/>
              <a:t>Rekalibrace</a:t>
            </a:r>
            <a:r>
              <a:rPr lang="cs-CZ" sz="2400" dirty="0"/>
              <a:t> pro </a:t>
            </a:r>
            <a:r>
              <a:rPr lang="cs-CZ" sz="2400" u="sng" dirty="0"/>
              <a:t>nové krátkodobé projekce</a:t>
            </a:r>
            <a:r>
              <a:rPr lang="cs-CZ" sz="2400" dirty="0"/>
              <a:t> modelů SIR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45720" y="1491579"/>
          <a:ext cx="12108951" cy="3277067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744980">
                <a:tc>
                  <a:txBody>
                    <a:bodyPr/>
                    <a:lstStyle/>
                    <a:p>
                      <a:pPr algn="l"/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celkový počet</a:t>
                      </a: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průměrný denní počet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dno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14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d 4. 11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1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 3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33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40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 6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563208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8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3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 69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 83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 8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28756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. 11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5. 12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4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19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 223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9 04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627195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30879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687232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83230" y="3054720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37629" y="43883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17372" y="4346588"/>
            <a:ext cx="302344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88485" y="3209755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83230" y="3279940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88485" y="3433062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88485" y="3881367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75373" y="3732071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684165" y="3497837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389420" y="36490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218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4877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024051" y="89297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6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89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37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951623" y="556389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C816283E-3E14-4DB6-A56D-E16750940161}"/>
              </a:ext>
            </a:extLst>
          </p:cNvPr>
          <p:cNvSpPr txBox="1"/>
          <p:nvPr/>
        </p:nvSpPr>
        <p:spPr>
          <a:xfrm>
            <a:off x="1370195" y="1881482"/>
            <a:ext cx="6524427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k brzkému překročení hranice 9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93FB78B4-02B0-43DA-B117-81B70A729757}"/>
              </a:ext>
            </a:extLst>
          </p:cNvPr>
          <p:cNvCxnSpPr>
            <a:cxnSpLocks/>
          </p:cNvCxnSpPr>
          <p:nvPr/>
        </p:nvCxnSpPr>
        <p:spPr>
          <a:xfrm flipH="1">
            <a:off x="1318586" y="2502890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7883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206590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ra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A3D10F2-5603-4536-8013-E5443E88E93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9" name="Chart 4">
            <a:extLst>
              <a:ext uri="{FF2B5EF4-FFF2-40B4-BE49-F238E27FC236}">
                <a16:creationId xmlns:a16="http://schemas.microsoft.com/office/drawing/2014/main" id="{B6523D7D-8564-427A-B9A2-2C7A2E997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081281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6">
            <a:extLst>
              <a:ext uri="{FF2B5EF4-FFF2-40B4-BE49-F238E27FC236}">
                <a16:creationId xmlns:a16="http://schemas.microsoft.com/office/drawing/2014/main" id="{77642D23-AB8A-428B-B5A9-B6DE7D5CA8A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94FEE07-9E48-43F3-ACED-58235DD7DD8B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83DEFAE-C712-4ECA-9E6F-3A56F8769B6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</a:t>
            </a:r>
            <a:r>
              <a:rPr lang="cs-CZ" sz="900" b="1" dirty="0">
                <a:solidFill>
                  <a:srgbClr val="000000"/>
                </a:solidFill>
              </a:rPr>
              <a:t>4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až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 </a:t>
            </a:r>
            <a:r>
              <a:rPr lang="cs-CZ" sz="900" b="1" dirty="0">
                <a:solidFill>
                  <a:srgbClr val="000000"/>
                </a:solidFill>
              </a:rPr>
              <a:t>11</a:t>
            </a:r>
            <a:r>
              <a:rPr lang="es-ES" sz="900" b="1" dirty="0">
                <a:solidFill>
                  <a:srgbClr val="000000"/>
                </a:solidFill>
              </a:rPr>
              <a:t>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E15E1487-A75D-4BAC-860E-28CE11CAF8D1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TextovéPole 68">
            <a:extLst>
              <a:ext uri="{FF2B5EF4-FFF2-40B4-BE49-F238E27FC236}">
                <a16:creationId xmlns:a16="http://schemas.microsoft.com/office/drawing/2014/main" id="{C939521D-F3A1-44DB-B290-AC0B9AB212A9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cénáře vývoje dle hodnoty reprodukčního čísla </a:t>
            </a: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20B59B3B-2D6C-4FA1-A6BC-AC9AC3595EE3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velmi rychlého růstu, R = 1,40</a:t>
            </a:r>
          </a:p>
        </p:txBody>
      </p:sp>
      <p:sp>
        <p:nvSpPr>
          <p:cNvPr id="71" name="TextovéPole 70">
            <a:extLst>
              <a:ext uri="{FF2B5EF4-FFF2-40B4-BE49-F238E27FC236}">
                <a16:creationId xmlns:a16="http://schemas.microsoft.com/office/drawing/2014/main" id="{7E144162-22F1-4EC0-A0F8-B2D81F963E87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pomalého růstu, R = 1,10</a:t>
            </a:r>
          </a:p>
        </p:txBody>
      </p:sp>
      <p:cxnSp>
        <p:nvCxnSpPr>
          <p:cNvPr id="72" name="Přímá spojnice se šipkou 71">
            <a:extLst>
              <a:ext uri="{FF2B5EF4-FFF2-40B4-BE49-F238E27FC236}">
                <a16:creationId xmlns:a16="http://schemas.microsoft.com/office/drawing/2014/main" id="{8E1A3239-E770-4CA3-843F-DC86A3EB4D95}"/>
              </a:ext>
            </a:extLst>
          </p:cNvPr>
          <p:cNvCxnSpPr>
            <a:cxnSpLocks/>
            <a:stCxn id="69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3" name="Přímá spojnice se šipkou 72">
            <a:extLst>
              <a:ext uri="{FF2B5EF4-FFF2-40B4-BE49-F238E27FC236}">
                <a16:creationId xmlns:a16="http://schemas.microsoft.com/office/drawing/2014/main" id="{534D7887-1E02-42A8-A6F3-A929ED688A6C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TextovéPole 73">
            <a:extLst>
              <a:ext uri="{FF2B5EF4-FFF2-40B4-BE49-F238E27FC236}">
                <a16:creationId xmlns:a16="http://schemas.microsoft.com/office/drawing/2014/main" id="{9205A13C-0DFA-4E95-BBD8-33860C32FEFA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75" name="Přímá spojnice 74">
            <a:extLst>
              <a:ext uri="{FF2B5EF4-FFF2-40B4-BE49-F238E27FC236}">
                <a16:creationId xmlns:a16="http://schemas.microsoft.com/office/drawing/2014/main" id="{C57940C1-A725-4015-B9CE-0A74A80081C9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6" name="TextovéPole 75">
            <a:extLst>
              <a:ext uri="{FF2B5EF4-FFF2-40B4-BE49-F238E27FC236}">
                <a16:creationId xmlns:a16="http://schemas.microsoft.com/office/drawing/2014/main" id="{F22F8D26-A79B-45EB-9975-BC9FC93DBCD0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77" name="Přímá spojnice 76">
            <a:extLst>
              <a:ext uri="{FF2B5EF4-FFF2-40B4-BE49-F238E27FC236}">
                <a16:creationId xmlns:a16="http://schemas.microsoft.com/office/drawing/2014/main" id="{4ECE574E-4D10-47A4-A28C-B565F6CD3AB0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78" name="Přímá spojnice 77">
            <a:extLst>
              <a:ext uri="{FF2B5EF4-FFF2-40B4-BE49-F238E27FC236}">
                <a16:creationId xmlns:a16="http://schemas.microsoft.com/office/drawing/2014/main" id="{60CB062A-3BD7-44FA-BFDD-F4148D390B51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79" name="TextovéPole 78">
            <a:extLst>
              <a:ext uri="{FF2B5EF4-FFF2-40B4-BE49-F238E27FC236}">
                <a16:creationId xmlns:a16="http://schemas.microsoft.com/office/drawing/2014/main" id="{33CA784B-9496-464B-8D40-8EB777D52D59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1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l-PL" sz="1100" dirty="0">
                <a:solidFill>
                  <a:prstClr val="black"/>
                </a:solidFill>
                <a:latin typeface="Calibri" panose="020F0502020204030204"/>
              </a:rPr>
              <a:t>scénáře ze dne 12. 11. 2021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16270937-03C6-4264-8EA5-AFA89F79BB76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</p:txBody>
      </p:sp>
      <p:cxnSp>
        <p:nvCxnSpPr>
          <p:cNvPr id="81" name="Přímá spojnice 80">
            <a:extLst>
              <a:ext uri="{FF2B5EF4-FFF2-40B4-BE49-F238E27FC236}">
                <a16:creationId xmlns:a16="http://schemas.microsoft.com/office/drawing/2014/main" id="{8874BCE9-2FC6-4E61-B56B-F4D910BD5EA3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82" name="TextovéPole 81">
            <a:extLst>
              <a:ext uri="{FF2B5EF4-FFF2-40B4-BE49-F238E27FC236}">
                <a16:creationId xmlns:a16="http://schemas.microsoft.com/office/drawing/2014/main" id="{77EFB76E-7CC6-4F40-9894-A26E535DA51E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5. 12. 2021</a:t>
            </a:r>
          </a:p>
          <a:p>
            <a:pPr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 954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 946*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 433 predikovaných</a:t>
            </a:r>
            <a:endParaRPr lang="cs-CZ" dirty="0">
              <a:latin typeface="Arial" panose="020B0604020202020204" pitchFamily="34" charset="0"/>
            </a:endParaRPr>
          </a:p>
          <a:p>
            <a:pPr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31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7D839E0D-7FD9-4A14-B56C-EDF9F596F074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cs-CZ" sz="1200" dirty="0">
                <a:solidFill>
                  <a:prstClr val="black"/>
                </a:solidFill>
                <a:latin typeface="Calibri" panose="020F0502020204030204"/>
              </a:rPr>
              <a:t>při stávajícím objemu testů a jejich relativní pozitivitě jsou tyto počty případů již mimo detekovatelný rozsah </a:t>
            </a:r>
          </a:p>
        </p:txBody>
      </p:sp>
    </p:spTree>
    <p:extLst>
      <p:ext uri="{BB962C8B-B14F-4D97-AF65-F5344CB8AC3E}">
        <p14:creationId xmlns:p14="http://schemas.microsoft.com/office/powerpoint/2010/main" val="103245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Praha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B8E0D10-17C4-4853-8301-52892F01D2D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1" name="Chart 4">
            <a:extLst>
              <a:ext uri="{FF2B5EF4-FFF2-40B4-BE49-F238E27FC236}">
                <a16:creationId xmlns:a16="http://schemas.microsoft.com/office/drawing/2014/main" id="{BB551E58-93BA-4BAA-AEB2-FEB996BBC5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863237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154B69E7-C0F3-4F83-BEEB-7F5FB9C41705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6">
            <a:extLst>
              <a:ext uri="{FF2B5EF4-FFF2-40B4-BE49-F238E27FC236}">
                <a16:creationId xmlns:a16="http://schemas.microsoft.com/office/drawing/2014/main" id="{050E0672-5489-48D4-AB36-66B83CC45C74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AB43827-FF9C-4DD3-8A97-AB27C6E42CDC}"/>
              </a:ext>
            </a:extLst>
          </p:cNvPr>
          <p:cNvSpPr txBox="1"/>
          <p:nvPr/>
        </p:nvSpPr>
        <p:spPr>
          <a:xfrm>
            <a:off x="11577197" y="52172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F9C9239C-4423-4333-9A89-0170DDD84B84}"/>
              </a:ext>
            </a:extLst>
          </p:cNvPr>
          <p:cNvSpPr txBox="1"/>
          <p:nvPr/>
        </p:nvSpPr>
        <p:spPr>
          <a:xfrm>
            <a:off x="11588684" y="545464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E60540D2-3AC4-433A-9FA4-DC0A6B8F908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3B689D34-4787-4762-B42F-E8ADBC63BDDD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51B848DE-34F7-4FE9-96FB-F56243CD7EBA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FDCED44-54C8-4F89-9BFC-F121C3E43E3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553D1C87-C8D4-4BD9-BD71-C4F461D4C0E6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F3A355DA-9EA2-4055-892B-617ACBD1680C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DD31ACE6-AE23-493B-9E3B-37A0481A603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DD054DE-C666-4435-A09A-4A66553C640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A2A8BDC-0BD2-4CED-9F39-7A002B4A42E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9A92EDA-D8C3-4EB1-9758-7B12561BC979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4. 11. až 11. 11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CD5909B-19B4-4D3D-B27B-037FC11A1EC3}"/>
              </a:ext>
            </a:extLst>
          </p:cNvPr>
          <p:cNvSpPr txBox="1"/>
          <p:nvPr/>
        </p:nvSpPr>
        <p:spPr>
          <a:xfrm>
            <a:off x="6610082" y="97971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2 44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FFC000"/>
                </a:solidFill>
                <a:latin typeface="Calibri" panose="020F0502020204030204" pitchFamily="34" charset="0"/>
              </a:rPr>
              <a:t>1 80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pt-BR" sz="1200" dirty="0">
                <a:solidFill>
                  <a:srgbClr val="0070C0"/>
                </a:solidFill>
                <a:latin typeface="Calibri" panose="020F0502020204030204" pitchFamily="34" charset="0"/>
              </a:rPr>
              <a:t>1 30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2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D0A3E65-CC3F-40D5-96F9-29B1A68CBDE4}"/>
              </a:ext>
            </a:extLst>
          </p:cNvPr>
          <p:cNvSpPr txBox="1"/>
          <p:nvPr/>
        </p:nvSpPr>
        <p:spPr>
          <a:xfrm>
            <a:off x="6096000" y="62606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31325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80</TotalTime>
  <Words>5123</Words>
  <Application>Microsoft Office PowerPoint</Application>
  <PresentationFormat>Širokoúhlá obrazovka</PresentationFormat>
  <Paragraphs>649</Paragraphs>
  <Slides>3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5</vt:i4>
      </vt:variant>
    </vt:vector>
  </HeadingPairs>
  <TitlesOfParts>
    <vt:vector size="42" baseType="lpstr">
      <vt:lpstr>Arial</vt:lpstr>
      <vt:lpstr>Calibri</vt:lpstr>
      <vt:lpstr>Calibri Light</vt:lpstr>
      <vt:lpstr>Motiv Office</vt:lpstr>
      <vt:lpstr>1_Motiv systému Office</vt:lpstr>
      <vt:lpstr>1_Motiv Office</vt:lpstr>
      <vt:lpstr>5_Motiv Office</vt:lpstr>
      <vt:lpstr>Datová a informační základna  pro management pandemie COVID-19</vt:lpstr>
      <vt:lpstr>Stav a vývoj epidemie COVID-19  v dostupných datech</vt:lpstr>
      <vt:lpstr>Projekce krátkodobých modelů SIR  pro vývoj epidemie v listopadu</vt:lpstr>
      <vt:lpstr>Krátkodobá projekce modelů SIR dle hodnoty efektivního reprodukčního čísla</vt:lpstr>
      <vt:lpstr>Rekalibrace pro nové krátkodobé projekce modelů SIR</vt:lpstr>
      <vt:lpstr>7denní hodnoty na 100 tisíc obyvatel: krátkodobá projekce vývoje </vt:lpstr>
      <vt:lpstr>Stav a vývoj epidemie COVID-19  v dostupných datech</vt:lpstr>
      <vt:lpstr>Predikce ve čtyřech scénářích: Praha</vt:lpstr>
      <vt:lpstr>Modelové scénáře: 7denní hodnoty na 100 tisíc obyvatel: Praha</vt:lpstr>
      <vt:lpstr>Predikce ve čtyřech scénářích: Středočeský kraj</vt:lpstr>
      <vt:lpstr>Modelové scénáře: 7denní hodnoty na 100 tisíc obyvatel: Středočeský kraj</vt:lpstr>
      <vt:lpstr>Predikce ve čtyřech scénářích: Jihočeský kraj</vt:lpstr>
      <vt:lpstr>Modelové scénáře: 7denní hodnoty na 100 tisíc obyvatel: Jihočeský kraj</vt:lpstr>
      <vt:lpstr>Predikce ve čtyřech scénářích: Plzeňský kraj</vt:lpstr>
      <vt:lpstr>Modelové scénáře: 7denní hodnoty na 100 tisíc obyvatel: Plzeňský kraj</vt:lpstr>
      <vt:lpstr>Predikce ve čtyřech scénářích: Karlovarský kraj</vt:lpstr>
      <vt:lpstr>Modelové scénáře: 7denní hodnoty na 100 tisíc obyvatel: Karlovarský kraj</vt:lpstr>
      <vt:lpstr>Predikce ve čtyřech scénářích: Ústecký kraj</vt:lpstr>
      <vt:lpstr>Modelové scénáře: 7denní hodnoty na 100 tisíc obyvatel: Ústecký kraj</vt:lpstr>
      <vt:lpstr>Predikce ve čtyřech scénářích: Liberecký kraj</vt:lpstr>
      <vt:lpstr>Modelové scénáře: 7denní hodnoty na 100 tisíc obyvatel: Liberecký kraj</vt:lpstr>
      <vt:lpstr>Predikce ve čtyřech scénářích: Královehradecký kraj</vt:lpstr>
      <vt:lpstr>Modelové scénáře: 7denní hodnoty na 100 tisíc obyvatel: Královehradecký kraj</vt:lpstr>
      <vt:lpstr>Predikce ve čtyřech scénářích: Pardubický kraj</vt:lpstr>
      <vt:lpstr>Modelové scénáře: 7denní hodnoty na 100 tisíc obyvatel: Pardubický kraj</vt:lpstr>
      <vt:lpstr>Predikce ve čtyřech scénářích: Kraj Vysočina</vt:lpstr>
      <vt:lpstr>Modelové scénáře: 7denní hodnoty na 100 tisíc obyvatel: Kraj Vysočina</vt:lpstr>
      <vt:lpstr>Predikce ve čtyřech scénářích: Jihomoravský kraj</vt:lpstr>
      <vt:lpstr>Modelové scénáře: 7denní hodnoty na 100 tisíc obyvatel: Jihomoravský kraj</vt:lpstr>
      <vt:lpstr>Predikce ve čtyřech scénářích: Olomoucký kraj</vt:lpstr>
      <vt:lpstr>Modelové scénáře: 7denní hodnoty na 100 tisíc obyvatel: Olomoucký kraj</vt:lpstr>
      <vt:lpstr>Predikce ve čtyřech scénářích: Zlínský kraj</vt:lpstr>
      <vt:lpstr>Modelové scénáře: 7denní hodnoty na 100 tisíc obyvatel: Zlínský kraj</vt:lpstr>
      <vt:lpstr>Predikce ve čtyřech scénářích: Moravskoslezský kraj</vt:lpstr>
      <vt:lpstr>Modelové scénáře: 7denní hodnoty na 100 tisíc obyvatel: Moravskoslezský kraj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326</cp:revision>
  <dcterms:created xsi:type="dcterms:W3CDTF">2020-03-16T10:06:11Z</dcterms:created>
  <dcterms:modified xsi:type="dcterms:W3CDTF">2021-11-17T20:21:08Z</dcterms:modified>
</cp:coreProperties>
</file>